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  <p:sldMasterId id="2147483675" r:id="rId3"/>
    <p:sldMasterId id="2147483687" r:id="rId4"/>
    <p:sldMasterId id="2147483699" r:id="rId5"/>
  </p:sldMasterIdLst>
  <p:notesMasterIdLst>
    <p:notesMasterId r:id="rId53"/>
  </p:notesMasterIdLst>
  <p:sldIdLst>
    <p:sldId id="256" r:id="rId6"/>
    <p:sldId id="257" r:id="rId7"/>
    <p:sldId id="319" r:id="rId8"/>
    <p:sldId id="258" r:id="rId9"/>
    <p:sldId id="259" r:id="rId10"/>
    <p:sldId id="263" r:id="rId11"/>
    <p:sldId id="264" r:id="rId12"/>
    <p:sldId id="294" r:id="rId13"/>
    <p:sldId id="295" r:id="rId14"/>
    <p:sldId id="296" r:id="rId15"/>
    <p:sldId id="297" r:id="rId16"/>
    <p:sldId id="298" r:id="rId17"/>
    <p:sldId id="299" r:id="rId18"/>
    <p:sldId id="300" r:id="rId19"/>
    <p:sldId id="301" r:id="rId20"/>
    <p:sldId id="265" r:id="rId21"/>
    <p:sldId id="266" r:id="rId22"/>
    <p:sldId id="267" r:id="rId23"/>
    <p:sldId id="306" r:id="rId24"/>
    <p:sldId id="268" r:id="rId25"/>
    <p:sldId id="328" r:id="rId26"/>
    <p:sldId id="270" r:id="rId27"/>
    <p:sldId id="307" r:id="rId28"/>
    <p:sldId id="314" r:id="rId29"/>
    <p:sldId id="308" r:id="rId30"/>
    <p:sldId id="309" r:id="rId31"/>
    <p:sldId id="310" r:id="rId32"/>
    <p:sldId id="311" r:id="rId33"/>
    <p:sldId id="312" r:id="rId34"/>
    <p:sldId id="313" r:id="rId35"/>
    <p:sldId id="271" r:id="rId36"/>
    <p:sldId id="329" r:id="rId37"/>
    <p:sldId id="272" r:id="rId38"/>
    <p:sldId id="322" r:id="rId39"/>
    <p:sldId id="323" r:id="rId40"/>
    <p:sldId id="324" r:id="rId41"/>
    <p:sldId id="327" r:id="rId42"/>
    <p:sldId id="278" r:id="rId43"/>
    <p:sldId id="326" r:id="rId44"/>
    <p:sldId id="315" r:id="rId45"/>
    <p:sldId id="274" r:id="rId46"/>
    <p:sldId id="321" r:id="rId47"/>
    <p:sldId id="275" r:id="rId48"/>
    <p:sldId id="316" r:id="rId49"/>
    <p:sldId id="279" r:id="rId50"/>
    <p:sldId id="280" r:id="rId51"/>
    <p:sldId id="281" r:id="rId5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FF33"/>
    <a:srgbClr val="99FF33"/>
    <a:srgbClr val="66FF66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9" autoAdjust="0"/>
    <p:restoredTop sz="94677" autoAdjust="0"/>
  </p:normalViewPr>
  <p:slideViewPr>
    <p:cSldViewPr snapToGrid="0" snapToObjects="1">
      <p:cViewPr>
        <p:scale>
          <a:sx n="80" d="100"/>
          <a:sy n="80" d="100"/>
        </p:scale>
        <p:origin x="-1578" y="-1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6721098209495983E-2"/>
          <c:y val="5.2900358402770936E-2"/>
          <c:w val="0.84766966308544989"/>
          <c:h val="0.84695982856687346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1 Target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1.736917048436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1012251123027999E-3"/>
                  <c:y val="-9.92524027678134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9.92524027678134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278220520214504E-2"/>
                  <c:y val="-1.2406550345976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84049004492112E-2"/>
                  <c:y val="-9.92524027678134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2013/14</c:v>
                </c:pt>
                <c:pt idx="1">
                  <c:v>2014/15</c:v>
                </c:pt>
                <c:pt idx="2">
                  <c:v>2015/16</c:v>
                </c:pt>
                <c:pt idx="3">
                  <c:v>2016/17</c:v>
                </c:pt>
                <c:pt idx="4">
                  <c:v>2017/18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509</c:v>
                </c:pt>
                <c:pt idx="1">
                  <c:v>9599</c:v>
                </c:pt>
                <c:pt idx="2">
                  <c:v>10959</c:v>
                </c:pt>
                <c:pt idx="3">
                  <c:v>11791</c:v>
                </c:pt>
                <c:pt idx="4">
                  <c:v>1267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1 Actual
Performanc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6037524624070606E-17"/>
                  <c:y val="-1.9850480553562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1.73691704843673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2.233179062275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1.9850480553562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42024502246056E-3"/>
                  <c:y val="-1.48878604151720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2013/14</c:v>
                </c:pt>
                <c:pt idx="1">
                  <c:v>2014/15</c:v>
                </c:pt>
                <c:pt idx="2">
                  <c:v>2015/16</c:v>
                </c:pt>
                <c:pt idx="3">
                  <c:v>2016/17</c:v>
                </c:pt>
                <c:pt idx="4">
                  <c:v>2017/18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9275</c:v>
                </c:pt>
                <c:pt idx="1">
                  <c:v>10523</c:v>
                </c:pt>
                <c:pt idx="2">
                  <c:v>11400</c:v>
                </c:pt>
                <c:pt idx="3">
                  <c:v>12614</c:v>
                </c:pt>
                <c:pt idx="4">
                  <c:v>130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6000896"/>
        <c:axId val="36002432"/>
        <c:axId val="33885248"/>
      </c:bar3DChart>
      <c:catAx>
        <c:axId val="36000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6002432"/>
        <c:crosses val="autoZero"/>
        <c:auto val="1"/>
        <c:lblAlgn val="ctr"/>
        <c:lblOffset val="100"/>
        <c:noMultiLvlLbl val="0"/>
      </c:catAx>
      <c:valAx>
        <c:axId val="360024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6000896"/>
        <c:crosses val="autoZero"/>
        <c:crossBetween val="between"/>
      </c:valAx>
      <c:serAx>
        <c:axId val="33885248"/>
        <c:scaling>
          <c:orientation val="minMax"/>
        </c:scaling>
        <c:delete val="0"/>
        <c:axPos val="b"/>
        <c:majorTickMark val="out"/>
        <c:minorTickMark val="none"/>
        <c:tickLblPos val="nextTo"/>
        <c:crossAx val="36002432"/>
        <c:crosses val="autoZero"/>
      </c:ser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7A0C4B-FCB4-45D5-AACA-2704723130CA}" type="datetimeFigureOut">
              <a:rPr lang="en-ZA" smtClean="0"/>
              <a:t>2017/08/0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B8F80B-0BDD-4C42-A701-E95D7567F6FA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48478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1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56439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Mr Tiley to updat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3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293829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Mr Tiley to updat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3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848505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Mr Tiley to updat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>
                <a:solidFill>
                  <a:prstClr val="black"/>
                </a:solidFill>
              </a:rPr>
              <a:pPr/>
              <a:t>34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8505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Mr Tiley to updat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>
                <a:solidFill>
                  <a:prstClr val="black"/>
                </a:solidFill>
              </a:rPr>
              <a:pPr/>
              <a:t>35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850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Mr Tiley to updat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>
                <a:solidFill>
                  <a:prstClr val="black"/>
                </a:solidFill>
              </a:rPr>
              <a:pPr/>
              <a:t>36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8505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3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01219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Utilise</a:t>
            </a:r>
            <a:r>
              <a:rPr lang="en-ZA" baseline="0" dirty="0" smtClean="0"/>
              <a:t> the slides on DDG:CS presentation for LRB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51C5B7-F0FA-4600-B720-15FCEC5FBCB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553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51C5B7-F0FA-4600-B720-15FCEC5FBCB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88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2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2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2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2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2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Replicate</a:t>
            </a:r>
            <a:r>
              <a:rPr lang="en-ZA" baseline="0" dirty="0" smtClean="0"/>
              <a:t> for all IMS target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8F80B-0BDD-4C42-A701-E95D7567F6FA}" type="slidenum">
              <a:rPr lang="en-ZA" smtClean="0"/>
              <a:t>3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80175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89D28-5ECB-4DFC-80A5-1F5816325FA2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324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ABAEB5-5259-4EA0-A598-C5FCF648DE9A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775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D41EB-9DD0-41E1-B851-07294D9949DB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174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D8BB0B-C436-4E9B-9D19-78E0DCACD9D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897C8-0DF6-45B2-A4ED-7D62B04B646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9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2C8BD-D3A4-42B3-949A-0CAFC70A313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DD4246-ACD7-417F-B90B-FFD9468B6D1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0499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BBC74-989D-478C-B63E-1E42DBB6E89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CCF07-1862-4806-9335-456877A3A37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8987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E88455-C65B-4AD8-B447-E58AD736AE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3A805-2625-4121-80DB-E7A3227BC0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71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72F19B-8937-444E-908A-D5320F2DBC3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ECA956-FCA6-4DDD-BFAC-76010CEC996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42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C862ED-F3C3-4874-AFDA-84978BD9369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0EFEA-11AC-44A9-BFC2-F3E958D4E50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469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77071-D09D-442D-934C-1E7362A7D8A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E0243-5032-4E87-A7C8-73B4B7724F0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822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D7CB9-3B67-4F02-9F6E-CA20CA2B10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96338F-404C-463C-AD6E-DC937EDBFF0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980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C2F09-D998-4B4F-88AC-EF8A6D04AC47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7646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D27B99-0EE7-4955-972E-D2BE5A58538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3D5F4E-CD5C-436B-898D-41C5E14E414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2231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80020-14FE-4EF4-A24A-5063E27DD3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3B553-A679-4FE5-BA36-97377A3D6AD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1004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7A0212-77B1-41A7-A956-7472226825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31DF9-12A9-4612-A3F7-8B767D26D16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54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9"/>
          <p:cNvSpPr>
            <a:spLocks noChangeShapeType="1"/>
          </p:cNvSpPr>
          <p:nvPr/>
        </p:nvSpPr>
        <p:spPr bwMode="auto">
          <a:xfrm>
            <a:off x="228600" y="457200"/>
            <a:ext cx="8682038" cy="0"/>
          </a:xfrm>
          <a:prstGeom prst="line">
            <a:avLst/>
          </a:prstGeom>
          <a:noFill/>
          <a:ln w="28575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  <p:graphicFrame>
        <p:nvGraphicFramePr>
          <p:cNvPr id="3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38"/>
          <p:cNvSpPr txBox="1">
            <a:spLocks noChangeArrowheads="1"/>
          </p:cNvSpPr>
          <p:nvPr/>
        </p:nvSpPr>
        <p:spPr bwMode="auto">
          <a:xfrm>
            <a:off x="2974975" y="58738"/>
            <a:ext cx="3262313" cy="3349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r>
              <a:rPr lang="en-GB" sz="1400" i="1" dirty="0" smtClean="0">
                <a:solidFill>
                  <a:prstClr val="black"/>
                </a:solidFill>
                <a:latin typeface="Calibri" pitchFamily="34" charset="0"/>
              </a:rPr>
              <a:t>Highly Confidential</a:t>
            </a:r>
          </a:p>
        </p:txBody>
      </p:sp>
      <p:pic>
        <p:nvPicPr>
          <p:cNvPr id="5" name="Picture 39" descr="home affairs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978025" y="701675"/>
            <a:ext cx="54737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8724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063" y="596900"/>
            <a:ext cx="8647112" cy="2746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246063" y="2092325"/>
            <a:ext cx="8647112" cy="2644775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3346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063" y="596900"/>
            <a:ext cx="8647112" cy="2746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46063" y="2092325"/>
            <a:ext cx="8647112" cy="26447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table</a:t>
            </a:r>
            <a:endParaRPr lang="en-ZA" noProof="0" dirty="0" smtClean="0"/>
          </a:p>
        </p:txBody>
      </p:sp>
    </p:spTree>
    <p:extLst>
      <p:ext uri="{BB962C8B-B14F-4D97-AF65-F5344CB8AC3E}">
        <p14:creationId xmlns:p14="http://schemas.microsoft.com/office/powerpoint/2010/main" val="9005509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3691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433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0105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3835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B786B-AD0D-4815-B1C6-7937F6B60474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500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5656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9480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6337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75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3594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887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0957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C4DB8-A257-4FA9-8C35-9E286FB69F4C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344F94-F24D-40BB-8254-7B04D8AD506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0701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FCE551-EB26-43E5-BA7B-5CB48C0D02BC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1D654A-E085-4E3D-991A-44D0C839329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9038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321A5-EAF0-42E0-B947-411681E8782A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9DF36-AAD9-485A-B40F-3A8C881C49D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73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86A23-6465-498C-8DF5-7E18C58F48F4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4442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7ABE3F-5ACE-48D3-B143-9BBADFB40BAA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6FB641-C9CA-4520-94FF-A287F9322E9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8082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4E7740-68E3-4F54-94AE-99C18A9DB566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07849-F696-4EE6-82A9-24BB0BE05AC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2317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35BB72-AF17-49C4-B48D-2C5C8AF45F67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25E48-88CC-4901-AD9B-803CFF3E93D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8971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A9B7D-8976-406A-BBC9-7BAB1780609B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6038F-EF5B-47F0-B624-50D730C5C95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5385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172F3-1ECF-4F90-BE43-9990C7B2533F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AD8D9-3239-401F-A89F-D86145FBA55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2795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495ACC-FCF4-4306-B48D-354B1B6B7660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5B175-1D9A-48AA-AA18-ABFDB0A9F50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1921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AC5D0-099F-4EDD-8C6D-1071AF2FCA7C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D087B7-4962-40F8-BCC5-885AE868823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7156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5053A-F544-49D2-9979-0A9CD286C5B3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D4F52A-5499-4F67-A33D-3B2A3649027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6044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A8AB3-0613-45E7-A256-7B06E4EA921A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897C8-0DF6-45B2-A4ED-7D62B04B646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056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DF765-EA3A-4551-85AB-746C5896447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DD4246-ACD7-417F-B90B-FFD9468B6D1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902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C8D7D-2550-445B-9DF2-E2D4030F1615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068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BF3F7C-F822-4B70-8566-264B662A361D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CCF07-1862-4806-9335-456877A3A37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3175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104E2-CBA0-4878-9120-CFAB96AD6D4A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3A805-2625-4121-80DB-E7A3227BC0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1103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5BA41-66AC-476A-8DAF-F5A6EC7EA61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ECA956-FCA6-4DDD-BFAC-76010CEC996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1359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5DFC0-F54C-470B-AA09-A1D5967107B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0EFEA-11AC-44A9-BFC2-F3E958D4E50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0786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323DA5-375B-4F33-B80A-54ACDEBA6E7C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E0243-5032-4E87-A7C8-73B4B7724F0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3059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2032AA-F641-463F-9E53-D7442A6DC25D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96338F-404C-463C-AD6E-DC937EDBFF0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3433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817809-39EF-4A7F-8D5D-45FAD9F837BE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3D5F4E-CD5C-436B-898D-41C5E14E414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7703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FF9476-B339-48E3-9C02-BE24866A904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3B553-A679-4FE5-BA36-97377A3D6AD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0674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05FCA-0A51-40DF-B43F-FF0D6C48E16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31DF9-12A9-4612-A3F7-8B767D26D16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9212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9"/>
          <p:cNvSpPr>
            <a:spLocks noChangeShapeType="1"/>
          </p:cNvSpPr>
          <p:nvPr/>
        </p:nvSpPr>
        <p:spPr bwMode="auto">
          <a:xfrm>
            <a:off x="228600" y="457200"/>
            <a:ext cx="8682038" cy="0"/>
          </a:xfrm>
          <a:prstGeom prst="line">
            <a:avLst/>
          </a:prstGeom>
          <a:noFill/>
          <a:ln w="28575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graphicFrame>
        <p:nvGraphicFramePr>
          <p:cNvPr id="3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38"/>
          <p:cNvSpPr txBox="1">
            <a:spLocks noChangeArrowheads="1"/>
          </p:cNvSpPr>
          <p:nvPr/>
        </p:nvSpPr>
        <p:spPr bwMode="auto">
          <a:xfrm>
            <a:off x="2974975" y="58738"/>
            <a:ext cx="3262313" cy="3349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EECE1"/>
              </a:buClr>
              <a:defRPr/>
            </a:pPr>
            <a:r>
              <a:rPr lang="en-GB" sz="1400" i="1" smtClean="0">
                <a:solidFill>
                  <a:prstClr val="black"/>
                </a:solidFill>
                <a:latin typeface="Calibri" pitchFamily="34" charset="0"/>
              </a:rPr>
              <a:t>Highly Confidential</a:t>
            </a:r>
          </a:p>
        </p:txBody>
      </p:sp>
      <p:pic>
        <p:nvPicPr>
          <p:cNvPr id="5" name="Picture 39" descr="home affairs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978025" y="701675"/>
            <a:ext cx="54737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7006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6BA43-31E0-441F-8A97-F8E4C9181BC7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9360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063" y="596900"/>
            <a:ext cx="8647112" cy="2746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46063" y="2092325"/>
            <a:ext cx="8647112" cy="2644775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en-ZA" noProof="0" smtClean="0"/>
          </a:p>
        </p:txBody>
      </p:sp>
    </p:spTree>
    <p:extLst>
      <p:ext uri="{BB962C8B-B14F-4D97-AF65-F5344CB8AC3E}">
        <p14:creationId xmlns:p14="http://schemas.microsoft.com/office/powerpoint/2010/main" val="3012204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E6C60A-3C37-4C84-BE8B-2E0DC0BEFBCA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5369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05614-98FE-44E7-9B01-E86A47CD44D5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53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AAF-C0C7-4C03-BBB0-6BEECAAF0754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472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1EC55B-E0B7-4F86-ACD5-7E42C96E1F62}" type="datetime1">
              <a:rPr lang="en-US" smtClean="0"/>
              <a:t>8/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38E8B7-8BD9-9F48-9FB6-4E0DFEDB84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970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fld id="{419C8A65-E5C9-417F-AA6C-2D06B562F5F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fld id="{56D163EE-7FDA-4393-9669-6870F4C6AC72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40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ransition spd="med">
    <p:plus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667E44-B790-4748-A85A-BD7FC580BF5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36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4CF63A5-2AAC-4CBC-9FA8-B2F4365B709C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/8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2F24CB-64C6-4249-935B-9C89110C5FA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422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fld id="{B4494B89-74A6-4F22-8C79-DBAE3572A57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8/8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4400">
              <a:defRPr/>
            </a:pPr>
            <a:fld id="{56D163EE-7FDA-4393-9669-6870F4C6AC72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352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</p:sldLayoutIdLst>
  <p:transition spd="med">
    <p:plus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gif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333375" y="1944370"/>
            <a:ext cx="8404225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lnSpc>
                <a:spcPct val="90000"/>
              </a:lnSpc>
            </a:pPr>
            <a:r>
              <a:rPr lang="en-GB" sz="2000" b="1" dirty="0">
                <a:latin typeface="Calibri" pitchFamily="34" charset="0"/>
              </a:rPr>
              <a:t>Presentation of North West Status </a:t>
            </a:r>
            <a:r>
              <a:rPr lang="en-GB" sz="2000" b="1" dirty="0" smtClean="0">
                <a:latin typeface="Calibri" pitchFamily="34" charset="0"/>
              </a:rPr>
              <a:t>Report To The Portfolio Committee on Home Affairs </a:t>
            </a:r>
            <a:endParaRPr lang="en-GB" sz="2000" b="1" dirty="0">
              <a:latin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84004" y="3096537"/>
            <a:ext cx="35283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Presenter:  M.I Mantlhasi</a:t>
            </a:r>
          </a:p>
          <a:p>
            <a:pPr algn="ctr"/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Acting Provincial Manager</a:t>
            </a:r>
          </a:p>
          <a:p>
            <a:pPr algn="ctr"/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North West Province</a:t>
            </a:r>
            <a:endParaRPr lang="en-ZA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2120899" y="4850765"/>
            <a:ext cx="48291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92188" eaLnBrk="0" hangingPunct="0"/>
            <a:r>
              <a:rPr lang="en-GB" sz="2000" b="1" dirty="0" smtClean="0">
                <a:latin typeface="Calibri" pitchFamily="34" charset="0"/>
              </a:rPr>
              <a:t>22 August 2017 </a:t>
            </a:r>
            <a:endParaRPr lang="en-GB" sz="2000" b="1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402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BE4B62-A48B-4FB4-8B6A-4DBC9F972ED0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364" name="TextBox 1"/>
          <p:cNvSpPr txBox="1">
            <a:spLocks noChangeArrowheads="1"/>
          </p:cNvSpPr>
          <p:nvPr/>
        </p:nvSpPr>
        <p:spPr bwMode="auto">
          <a:xfrm>
            <a:off x="304800" y="228600"/>
            <a:ext cx="86106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prstClr val="black"/>
                </a:solidFill>
                <a:latin typeface="Arial" charset="0"/>
              </a:rPr>
              <a:t>Bojanala District</a:t>
            </a:r>
          </a:p>
        </p:txBody>
      </p:sp>
      <p:graphicFrame>
        <p:nvGraphicFramePr>
          <p:cNvPr id="26786" name="Group 1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9373043"/>
              </p:ext>
            </p:extLst>
          </p:nvPr>
        </p:nvGraphicFramePr>
        <p:xfrm>
          <a:off x="5292080" y="661647"/>
          <a:ext cx="3672408" cy="3947297"/>
        </p:xfrm>
        <a:graphic>
          <a:graphicData uri="http://schemas.openxmlformats.org/drawingml/2006/table">
            <a:tbl>
              <a:tblPr/>
              <a:tblGrid>
                <a:gridCol w="1728192"/>
                <a:gridCol w="1944216"/>
              </a:tblGrid>
              <a:tr h="68421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Local Municipality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HA Presence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oretele 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)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kapanstad MO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     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Leretlhabetse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THC &amp;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Mobile Unit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oses Kotane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-Mankwe &amp;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-Madikwe M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adibeng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Brits M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215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Rustenburg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Rustenburg L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Kgetleng river 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Swartruggens  S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399" name="Group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010314"/>
              </p:ext>
            </p:extLst>
          </p:nvPr>
        </p:nvGraphicFramePr>
        <p:xfrm>
          <a:off x="0" y="4653136"/>
          <a:ext cx="9144000" cy="1727597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7275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he previous demarcation resulted in a gap of service delivery in Moretele Local Municipality. The area is presently serviced by a mobile office with four officials.  Space has been secured at       Leretlhabetse/ Lebotlwane Thusong Centre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o address the problem of service accessibility in the Kgetleng River Local Municipality, the Province  opened a small  office in Swartruggens and five dedicated staff were appointed. This office is also taking care of the community living in and around Koster as well as surrounding farms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2" descr="Related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64704"/>
            <a:ext cx="4717880" cy="3530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V="1">
            <a:off x="4247964" y="1772816"/>
            <a:ext cx="828092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187624" y="1988840"/>
            <a:ext cx="3888432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3419872" y="2708920"/>
            <a:ext cx="1656184" cy="144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538452" y="2852936"/>
            <a:ext cx="2537604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187624" y="3352713"/>
            <a:ext cx="3888432" cy="7243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9170572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7E66EAD-F7DE-4DEC-9837-9BA5B560572F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6388" name="TextBox 1"/>
          <p:cNvSpPr txBox="1">
            <a:spLocks noChangeArrowheads="1"/>
          </p:cNvSpPr>
          <p:nvPr/>
        </p:nvSpPr>
        <p:spPr bwMode="auto">
          <a:xfrm>
            <a:off x="0" y="76200"/>
            <a:ext cx="91440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prstClr val="black"/>
                </a:solidFill>
                <a:latin typeface="Arial" charset="0"/>
              </a:rPr>
              <a:t>Dr Kenneth Kaunda District</a:t>
            </a:r>
          </a:p>
        </p:txBody>
      </p:sp>
      <p:graphicFrame>
        <p:nvGraphicFramePr>
          <p:cNvPr id="27772" name="Group 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373405"/>
              </p:ext>
            </p:extLst>
          </p:nvPr>
        </p:nvGraphicFramePr>
        <p:xfrm>
          <a:off x="4589116" y="952364"/>
          <a:ext cx="4457100" cy="3312368"/>
        </p:xfrm>
        <a:graphic>
          <a:graphicData uri="http://schemas.openxmlformats.org/drawingml/2006/table">
            <a:tbl>
              <a:tblPr/>
              <a:tblGrid>
                <a:gridCol w="2368868"/>
                <a:gridCol w="2088232"/>
              </a:tblGrid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Local Municipality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HA Presence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072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Tlokwe/Ventersdorp 405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Ventersdorp S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606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Potchefstroom M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20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atlosana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1)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Klerksdorp L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aquassie Hills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Wolmaransstad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 M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7773" name="Group 1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5366793"/>
              </p:ext>
            </p:extLst>
          </p:nvPr>
        </p:nvGraphicFramePr>
        <p:xfrm>
          <a:off x="0" y="4652963"/>
          <a:ext cx="9144000" cy="1512888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5128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he district is adequately covered  and has an office in each local municipality.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2" descr="Image result for south Africa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39" y="692696"/>
            <a:ext cx="4438267" cy="3831704"/>
          </a:xfrm>
          <a:prstGeom prst="rect">
            <a:avLst/>
          </a:prstGeom>
          <a:solidFill>
            <a:srgbClr val="FFC000"/>
          </a:solidFill>
        </p:spPr>
      </p:pic>
      <p:cxnSp>
        <p:nvCxnSpPr>
          <p:cNvPr id="3" name="Straight Arrow Connector 2"/>
          <p:cNvCxnSpPr/>
          <p:nvPr/>
        </p:nvCxnSpPr>
        <p:spPr>
          <a:xfrm>
            <a:off x="3347864" y="1594053"/>
            <a:ext cx="3528392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4136573" y="2276872"/>
            <a:ext cx="2808312" cy="144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2195736" y="2608548"/>
            <a:ext cx="2520280" cy="460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1115616" y="3429000"/>
            <a:ext cx="3600400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7573820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79A366F-C9A8-4103-A051-769D101ED2F9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8436" name="TextBox 1"/>
          <p:cNvSpPr txBox="1">
            <a:spLocks noChangeArrowheads="1"/>
          </p:cNvSpPr>
          <p:nvPr/>
        </p:nvSpPr>
        <p:spPr bwMode="auto">
          <a:xfrm>
            <a:off x="0" y="0"/>
            <a:ext cx="55086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</a:rPr>
              <a:t>Online Health Facilities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</a:rPr>
              <a:t>(Registration of birth 0-30 days)</a:t>
            </a:r>
          </a:p>
        </p:txBody>
      </p:sp>
      <p:sp>
        <p:nvSpPr>
          <p:cNvPr id="18437" name="TextBox 2"/>
          <p:cNvSpPr txBox="1">
            <a:spLocks noChangeArrowheads="1"/>
          </p:cNvSpPr>
          <p:nvPr/>
        </p:nvSpPr>
        <p:spPr bwMode="auto">
          <a:xfrm>
            <a:off x="5279278" y="1083994"/>
            <a:ext cx="3554412" cy="461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en-US" sz="1400" b="1" dirty="0" smtClean="0">
              <a:solidFill>
                <a:srgbClr val="C0000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b="1" dirty="0" smtClean="0">
              <a:solidFill>
                <a:srgbClr val="C00000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u="sng" dirty="0">
                <a:solidFill>
                  <a:srgbClr val="00B050"/>
                </a:solidFill>
              </a:rPr>
              <a:t>Bojanala </a:t>
            </a:r>
            <a:r>
              <a:rPr lang="en-US" sz="1400" b="1" u="sng" dirty="0" smtClean="0">
                <a:solidFill>
                  <a:srgbClr val="00B050"/>
                </a:solidFill>
              </a:rPr>
              <a:t>Platinum District (7)</a:t>
            </a:r>
            <a:endParaRPr lang="en-US" sz="1400" b="1" u="sng" dirty="0">
              <a:solidFill>
                <a:srgbClr val="00B050"/>
              </a:solidFill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Job Shimankana Tabane Provincial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Moses Kotan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Swartruggens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Pell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Brits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Bapo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Letlhabile CHC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u="sng" dirty="0">
                <a:solidFill>
                  <a:srgbClr val="00B050"/>
                </a:solidFill>
              </a:rPr>
              <a:t>Dr Ruth Segomotsi Mompati District (8)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Joe Morolong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Huhudi 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Stell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Schweizer – Renek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Bloemhof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Ganyesa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Taung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1F497D"/>
                </a:solidFill>
              </a:rPr>
              <a:t>Christiana CHC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0000"/>
                </a:solidFill>
              </a:rPr>
              <a:t>Total  </a:t>
            </a:r>
            <a:r>
              <a:rPr lang="en-US" sz="1400" b="1" dirty="0">
                <a:solidFill>
                  <a:srgbClr val="FF0000"/>
                </a:solidFill>
              </a:rPr>
              <a:t>=  </a:t>
            </a:r>
            <a:r>
              <a:rPr lang="en-US" sz="1400" b="1" dirty="0" smtClean="0">
                <a:solidFill>
                  <a:srgbClr val="FF0000"/>
                </a:solidFill>
              </a:rPr>
              <a:t>15</a:t>
            </a:r>
            <a:endParaRPr lang="en-US" sz="1400" b="1" dirty="0">
              <a:solidFill>
                <a:srgbClr val="FF0000"/>
              </a:solidFill>
            </a:endParaRPr>
          </a:p>
        </p:txBody>
      </p:sp>
      <p:graphicFrame>
        <p:nvGraphicFramePr>
          <p:cNvPr id="33830" name="Group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680898"/>
              </p:ext>
            </p:extLst>
          </p:nvPr>
        </p:nvGraphicFramePr>
        <p:xfrm>
          <a:off x="0" y="5733255"/>
          <a:ext cx="9144000" cy="623095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62309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The Province managed to register 50 104 births during the financial year 2016/17. The province achieved by 107% followed by two provinces (Limpopo &amp; Western Cape) with 101% respectively.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22" name="Picture 2" descr="Image result for 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" y="980728"/>
            <a:ext cx="5283853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>
            <a:off x="2642324" y="4653136"/>
            <a:ext cx="2636954" cy="57606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>
            <a:off x="1979712" y="4653136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2195736" y="4509120"/>
            <a:ext cx="3083542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619672" y="3681028"/>
            <a:ext cx="3659606" cy="3240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2195736" y="4005064"/>
            <a:ext cx="3083542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2195736" y="4005064"/>
            <a:ext cx="3083542" cy="1800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2267744" y="3681028"/>
            <a:ext cx="3011534" cy="810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4" name="Straight Arrow Connector 33823"/>
          <p:cNvCxnSpPr/>
          <p:nvPr/>
        </p:nvCxnSpPr>
        <p:spPr>
          <a:xfrm>
            <a:off x="2642324" y="4185084"/>
            <a:ext cx="2636954" cy="4680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8" name="Straight Arrow Connector 33827"/>
          <p:cNvCxnSpPr/>
          <p:nvPr/>
        </p:nvCxnSpPr>
        <p:spPr>
          <a:xfrm>
            <a:off x="2642324" y="4365104"/>
            <a:ext cx="2641927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1" name="Straight Arrow Connector 33830"/>
          <p:cNvCxnSpPr/>
          <p:nvPr/>
        </p:nvCxnSpPr>
        <p:spPr>
          <a:xfrm>
            <a:off x="3960801" y="2708920"/>
            <a:ext cx="1318477" cy="6842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3" name="Straight Arrow Connector 33832"/>
          <p:cNvCxnSpPr>
            <a:endCxn id="22" idx="3"/>
          </p:cNvCxnSpPr>
          <p:nvPr/>
        </p:nvCxnSpPr>
        <p:spPr>
          <a:xfrm>
            <a:off x="3779912" y="2564904"/>
            <a:ext cx="1504339" cy="5400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5" name="Straight Arrow Connector 33834"/>
          <p:cNvCxnSpPr/>
          <p:nvPr/>
        </p:nvCxnSpPr>
        <p:spPr>
          <a:xfrm flipV="1">
            <a:off x="3960801" y="1916832"/>
            <a:ext cx="1318477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7" name="Straight Arrow Connector 33836"/>
          <p:cNvCxnSpPr/>
          <p:nvPr/>
        </p:nvCxnSpPr>
        <p:spPr>
          <a:xfrm>
            <a:off x="4355976" y="2708920"/>
            <a:ext cx="92330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41" name="Straight Arrow Connector 33840"/>
          <p:cNvCxnSpPr/>
          <p:nvPr/>
        </p:nvCxnSpPr>
        <p:spPr>
          <a:xfrm flipV="1">
            <a:off x="4817627" y="2492896"/>
            <a:ext cx="461651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43" name="Straight Arrow Connector 33842"/>
          <p:cNvCxnSpPr/>
          <p:nvPr/>
        </p:nvCxnSpPr>
        <p:spPr>
          <a:xfrm flipV="1">
            <a:off x="4716016" y="2294874"/>
            <a:ext cx="563262" cy="2700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45" name="Straight Arrow Connector 33844"/>
          <p:cNvCxnSpPr/>
          <p:nvPr/>
        </p:nvCxnSpPr>
        <p:spPr>
          <a:xfrm flipV="1">
            <a:off x="4716016" y="2096852"/>
            <a:ext cx="563262" cy="3960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1181536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79A366F-C9A8-4103-A051-769D101ED2F9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8436" name="TextBox 1"/>
          <p:cNvSpPr txBox="1">
            <a:spLocks noChangeArrowheads="1"/>
          </p:cNvSpPr>
          <p:nvPr/>
        </p:nvSpPr>
        <p:spPr bwMode="auto">
          <a:xfrm>
            <a:off x="0" y="0"/>
            <a:ext cx="55086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</a:rPr>
              <a:t>Online Health Facilities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</a:rPr>
              <a:t>(Registration of birth 0-30 days)</a:t>
            </a:r>
          </a:p>
        </p:txBody>
      </p:sp>
      <p:sp>
        <p:nvSpPr>
          <p:cNvPr id="18437" name="TextBox 2"/>
          <p:cNvSpPr txBox="1">
            <a:spLocks noChangeArrowheads="1"/>
          </p:cNvSpPr>
          <p:nvPr/>
        </p:nvSpPr>
        <p:spPr bwMode="auto">
          <a:xfrm>
            <a:off x="5652119" y="581776"/>
            <a:ext cx="3266455" cy="5693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u="sng" dirty="0">
                <a:solidFill>
                  <a:srgbClr val="00B050"/>
                </a:solidFill>
              </a:rPr>
              <a:t>Ngaka Modiri </a:t>
            </a:r>
            <a:r>
              <a:rPr lang="en-US" sz="1400" b="1" u="sng" dirty="0" smtClean="0">
                <a:solidFill>
                  <a:srgbClr val="00B050"/>
                </a:solidFill>
              </a:rPr>
              <a:t>Molema District (11)</a:t>
            </a:r>
            <a:endParaRPr lang="en-US" sz="1400" b="1" u="sng" dirty="0">
              <a:solidFill>
                <a:srgbClr val="00B050"/>
              </a:solidFill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Mahikeng Provincial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Victoria Privat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Montshiwa Town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Unit 9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Ramatlabama CHC </a:t>
            </a:r>
            <a:r>
              <a:rPr lang="en-US" sz="1400" b="1" dirty="0">
                <a:solidFill>
                  <a:srgbClr val="EEECE1">
                    <a:lumMod val="25000"/>
                  </a:srgbClr>
                </a:solidFill>
              </a:rPr>
              <a:t>(Propose to  move equipment  to Montshiwa Stadt Clinic)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General De La Rey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Gelukspan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Itsos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Atamela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Ratlou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FF0000"/>
                </a:solidFill>
              </a:rPr>
              <a:t>Lehurutshe Hospital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u="sng" dirty="0">
                <a:solidFill>
                  <a:srgbClr val="00B050"/>
                </a:solidFill>
              </a:rPr>
              <a:t>Dr Kenneth Kaunda District (10)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Klerksdorp Provincial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Anncron Privat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Wilmedpark Private Hospital 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Jouberton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Botshabelo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Ventersdorp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Potchefstroom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Potchefstroom Medi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Leeudoringstad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>
                <a:solidFill>
                  <a:srgbClr val="C00000"/>
                </a:solidFill>
              </a:rPr>
              <a:t>Nic Bodenstein </a:t>
            </a:r>
            <a:r>
              <a:rPr lang="en-US" sz="1400" b="1" dirty="0" smtClean="0">
                <a:solidFill>
                  <a:srgbClr val="C00000"/>
                </a:solidFill>
              </a:rPr>
              <a:t>Hospital 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b="1" dirty="0" smtClean="0">
                <a:solidFill>
                  <a:srgbClr val="FF0000"/>
                </a:solidFill>
              </a:rPr>
              <a:t>Total = 21</a:t>
            </a:r>
            <a:endParaRPr lang="en-US" sz="1400" b="1" dirty="0">
              <a:solidFill>
                <a:srgbClr val="FF0000"/>
              </a:solidFill>
            </a:endParaRPr>
          </a:p>
        </p:txBody>
      </p:sp>
      <p:graphicFrame>
        <p:nvGraphicFramePr>
          <p:cNvPr id="33830" name="Group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727506"/>
              </p:ext>
            </p:extLst>
          </p:nvPr>
        </p:nvGraphicFramePr>
        <p:xfrm>
          <a:off x="-1" y="6238875"/>
          <a:ext cx="9144000" cy="649605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4826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The Province managed to register 50 104 births during the financial year 2016/17. The province achieved by 107% followed by two provinces (Limpopo &amp; Western Cape) with 101% respectively.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22" name="Picture 21" descr="Image result for 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0" y="865813"/>
            <a:ext cx="5389984" cy="3815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V="1">
            <a:off x="3491880" y="980728"/>
            <a:ext cx="2160239" cy="12961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 flipV="1">
            <a:off x="3059832" y="1196752"/>
            <a:ext cx="2592287" cy="13681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V="1">
            <a:off x="3059832" y="1412776"/>
            <a:ext cx="2592287" cy="11521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3059832" y="1628800"/>
            <a:ext cx="2592287" cy="10081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3059832" y="1880828"/>
            <a:ext cx="2592287" cy="7560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3059832" y="2078850"/>
            <a:ext cx="2592287" cy="4860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3491880" y="2420888"/>
            <a:ext cx="2160239" cy="3526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3275856" y="2636912"/>
            <a:ext cx="2376263" cy="1366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311859" y="2751914"/>
            <a:ext cx="2340260" cy="1333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2627784" y="2885268"/>
            <a:ext cx="3024335" cy="1638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3059832" y="3212976"/>
            <a:ext cx="2592287" cy="10801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4139951" y="2996952"/>
            <a:ext cx="1512168" cy="6840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4355975" y="3429000"/>
            <a:ext cx="1296144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>
            <a:off x="4355975" y="3429000"/>
            <a:ext cx="1296144" cy="6840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5" name="Straight Arrow Connector 33824"/>
          <p:cNvCxnSpPr/>
          <p:nvPr/>
        </p:nvCxnSpPr>
        <p:spPr>
          <a:xfrm>
            <a:off x="3851920" y="3429000"/>
            <a:ext cx="1800199" cy="9001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7" name="Straight Arrow Connector 33826"/>
          <p:cNvCxnSpPr/>
          <p:nvPr/>
        </p:nvCxnSpPr>
        <p:spPr>
          <a:xfrm>
            <a:off x="3851920" y="3429000"/>
            <a:ext cx="1800199" cy="11701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29" name="Straight Arrow Connector 33828"/>
          <p:cNvCxnSpPr/>
          <p:nvPr/>
        </p:nvCxnSpPr>
        <p:spPr>
          <a:xfrm>
            <a:off x="3779912" y="3429000"/>
            <a:ext cx="1872207" cy="13681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2" name="Straight Arrow Connector 33831"/>
          <p:cNvCxnSpPr/>
          <p:nvPr/>
        </p:nvCxnSpPr>
        <p:spPr>
          <a:xfrm>
            <a:off x="3779912" y="3429000"/>
            <a:ext cx="1872207" cy="15841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4" name="Straight Arrow Connector 33833"/>
          <p:cNvCxnSpPr/>
          <p:nvPr/>
        </p:nvCxnSpPr>
        <p:spPr>
          <a:xfrm>
            <a:off x="3779912" y="3429000"/>
            <a:ext cx="1872207" cy="1800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6" name="Straight Arrow Connector 33835"/>
          <p:cNvCxnSpPr/>
          <p:nvPr/>
        </p:nvCxnSpPr>
        <p:spPr>
          <a:xfrm>
            <a:off x="3275856" y="3753036"/>
            <a:ext cx="2376263" cy="16921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38" name="Straight Arrow Connector 33837"/>
          <p:cNvCxnSpPr/>
          <p:nvPr/>
        </p:nvCxnSpPr>
        <p:spPr>
          <a:xfrm>
            <a:off x="3347864" y="3933056"/>
            <a:ext cx="2304255" cy="172819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155751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6"/>
          <p:cNvSpPr txBox="1">
            <a:spLocks noGrp="1" noChangeArrowheads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FF8322C9-C6CE-4220-BE74-14AB19963E04}" type="slidenum">
              <a:rPr lang="en-US" sz="1400">
                <a:solidFill>
                  <a:prstClr val="black"/>
                </a:solidFill>
                <a:latin typeface="Arial" charset="0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4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9460" name="TextBox 1"/>
          <p:cNvSpPr txBox="1">
            <a:spLocks noChangeArrowheads="1"/>
          </p:cNvSpPr>
          <p:nvPr/>
        </p:nvSpPr>
        <p:spPr bwMode="auto">
          <a:xfrm>
            <a:off x="609600" y="260648"/>
            <a:ext cx="807719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prstClr val="black"/>
                </a:solidFill>
              </a:rPr>
              <a:t>Manually Serviced Health Facilities Registering births 0 – 30 days</a:t>
            </a:r>
          </a:p>
        </p:txBody>
      </p:sp>
      <p:sp>
        <p:nvSpPr>
          <p:cNvPr id="19461" name="TextBox 2"/>
          <p:cNvSpPr txBox="1">
            <a:spLocks noChangeArrowheads="1"/>
          </p:cNvSpPr>
          <p:nvPr/>
        </p:nvSpPr>
        <p:spPr bwMode="auto">
          <a:xfrm>
            <a:off x="5724525" y="1557338"/>
            <a:ext cx="3267076" cy="464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esobe </a:t>
            </a:r>
            <a:r>
              <a:rPr lang="en-US" sz="1400" dirty="0">
                <a:solidFill>
                  <a:prstClr val="black"/>
                </a:solidFill>
              </a:rPr>
              <a:t>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Molatedi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Mmatau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ogwase </a:t>
            </a:r>
            <a:r>
              <a:rPr lang="en-US" sz="1400" dirty="0">
                <a:solidFill>
                  <a:prstClr val="black"/>
                </a:solidFill>
              </a:rPr>
              <a:t>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Brits </a:t>
            </a:r>
            <a:r>
              <a:rPr lang="en-US" sz="1400" dirty="0">
                <a:solidFill>
                  <a:prstClr val="black"/>
                </a:solidFill>
              </a:rPr>
              <a:t>Medi Clinic </a:t>
            </a:r>
            <a:endParaRPr lang="en-US" sz="1400" dirty="0" smtClean="0">
              <a:solidFill>
                <a:prstClr val="black"/>
              </a:solidFill>
            </a:endParaRP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Oukasie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La </a:t>
            </a:r>
            <a:r>
              <a:rPr lang="en-US" sz="1400" dirty="0">
                <a:solidFill>
                  <a:prstClr val="black"/>
                </a:solidFill>
              </a:rPr>
              <a:t>Femme Privat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Fencrest Hospital 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Tlhabane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Dinokan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Tlokweng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Alabama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Tigane </a:t>
            </a:r>
            <a:r>
              <a:rPr lang="en-US" sz="1400" dirty="0">
                <a:solidFill>
                  <a:prstClr val="black"/>
                </a:solidFill>
              </a:rPr>
              <a:t>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Vryburg Privat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amus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orokw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Tlakgam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Ganyes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en-US" sz="1400" dirty="0">
              <a:solidFill>
                <a:prstClr val="black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0000"/>
                </a:solidFill>
              </a:rPr>
              <a:t>Total = 18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endParaRPr lang="en-US" sz="1400" dirty="0">
              <a:solidFill>
                <a:prstClr val="black"/>
              </a:solidFill>
            </a:endParaRPr>
          </a:p>
        </p:txBody>
      </p:sp>
      <p:graphicFrame>
        <p:nvGraphicFramePr>
          <p:cNvPr id="67613" name="Group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261325"/>
              </p:ext>
            </p:extLst>
          </p:nvPr>
        </p:nvGraphicFramePr>
        <p:xfrm>
          <a:off x="22225" y="6137498"/>
          <a:ext cx="9144000" cy="720502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72050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While awaiting connectivity to the rest of Health Facilities in the Province, offices  continued to collect birth applications manually and processed them at the offices.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pic>
        <p:nvPicPr>
          <p:cNvPr id="22" name="Picture 21" descr="Image result for 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84" y="1196752"/>
            <a:ext cx="5725452" cy="4172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V="1">
            <a:off x="4139952" y="1700808"/>
            <a:ext cx="1584573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/>
        </p:nvCxnSpPr>
        <p:spPr>
          <a:xfrm flipV="1">
            <a:off x="4139952" y="1916832"/>
            <a:ext cx="1584573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V="1">
            <a:off x="4139952" y="2132856"/>
            <a:ext cx="1584573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4355976" y="2348880"/>
            <a:ext cx="1368549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5292080" y="2564904"/>
            <a:ext cx="432445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5220072" y="2780928"/>
            <a:ext cx="576064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716016" y="2852936"/>
            <a:ext cx="1008509" cy="144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716016" y="2852936"/>
            <a:ext cx="1008509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4716016" y="2924944"/>
            <a:ext cx="1008509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4716016" y="3881051"/>
            <a:ext cx="1008508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2555776" y="4077073"/>
            <a:ext cx="3168748" cy="38304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2933410" y="4437112"/>
            <a:ext cx="2791114" cy="28803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84" name="Straight Arrow Connector 67583"/>
          <p:cNvCxnSpPr/>
          <p:nvPr/>
        </p:nvCxnSpPr>
        <p:spPr>
          <a:xfrm>
            <a:off x="4211761" y="4077073"/>
            <a:ext cx="144035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88" name="Straight Arrow Connector 67587"/>
          <p:cNvCxnSpPr/>
          <p:nvPr/>
        </p:nvCxnSpPr>
        <p:spPr>
          <a:xfrm>
            <a:off x="4139952" y="4077073"/>
            <a:ext cx="1584572" cy="1915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90" name="Elbow Connector 67589"/>
          <p:cNvCxnSpPr/>
          <p:nvPr/>
        </p:nvCxnSpPr>
        <p:spPr>
          <a:xfrm>
            <a:off x="1331639" y="3463978"/>
            <a:ext cx="4392885" cy="1489052"/>
          </a:xfrm>
          <a:prstGeom prst="bentConnector3">
            <a:avLst>
              <a:gd name="adj1" fmla="val 2191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93" name="Elbow Connector 67592"/>
          <p:cNvCxnSpPr/>
          <p:nvPr/>
        </p:nvCxnSpPr>
        <p:spPr>
          <a:xfrm>
            <a:off x="1907704" y="3645024"/>
            <a:ext cx="3816821" cy="1512168"/>
          </a:xfrm>
          <a:prstGeom prst="bentConnector3">
            <a:avLst>
              <a:gd name="adj1" fmla="val 65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01" name="Elbow Connector 67600"/>
          <p:cNvCxnSpPr/>
          <p:nvPr/>
        </p:nvCxnSpPr>
        <p:spPr>
          <a:xfrm>
            <a:off x="1691680" y="3763037"/>
            <a:ext cx="4032845" cy="1606076"/>
          </a:xfrm>
          <a:prstGeom prst="bentConnector3">
            <a:avLst>
              <a:gd name="adj1" fmla="val -327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04" name="Straight Arrow Connector 67603"/>
          <p:cNvCxnSpPr/>
          <p:nvPr/>
        </p:nvCxnSpPr>
        <p:spPr>
          <a:xfrm>
            <a:off x="3708102" y="3282932"/>
            <a:ext cx="2016423" cy="36209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10400" y="6140549"/>
            <a:ext cx="2133600" cy="365125"/>
          </a:xfrm>
        </p:spPr>
        <p:txBody>
          <a:bodyPr/>
          <a:lstStyle/>
          <a:p>
            <a:pPr>
              <a:defRPr/>
            </a:pPr>
            <a:fld id="{E80E0243-5032-4E87-A7C8-73B4B7724F0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871929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6"/>
          <p:cNvSpPr txBox="1">
            <a:spLocks noGrp="1" noChangeArrowheads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19459" name="Picture 2" descr="Clickable map of accommodation in North Wes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225" y="1347788"/>
            <a:ext cx="5702300" cy="415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TextBox 1"/>
          <p:cNvSpPr txBox="1">
            <a:spLocks noChangeArrowheads="1"/>
          </p:cNvSpPr>
          <p:nvPr/>
        </p:nvSpPr>
        <p:spPr bwMode="auto">
          <a:xfrm>
            <a:off x="609600" y="381000"/>
            <a:ext cx="78486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3000" dirty="0">
                <a:solidFill>
                  <a:prstClr val="black"/>
                </a:solidFill>
              </a:rPr>
              <a:t>Manually Serviced Health Facilities Registering births 0 – 30 days</a:t>
            </a:r>
          </a:p>
        </p:txBody>
      </p:sp>
      <p:sp>
        <p:nvSpPr>
          <p:cNvPr id="19461" name="TextBox 2"/>
          <p:cNvSpPr txBox="1">
            <a:spLocks noChangeArrowheads="1"/>
          </p:cNvSpPr>
          <p:nvPr/>
        </p:nvSpPr>
        <p:spPr bwMode="auto">
          <a:xfrm>
            <a:off x="6012160" y="1154470"/>
            <a:ext cx="2880320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u="sng" dirty="0" smtClean="0">
                <a:solidFill>
                  <a:srgbClr val="00B050"/>
                </a:solidFill>
              </a:rPr>
              <a:t>Ngaka Modiri Molema (10)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Disan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akgobistad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Montshioa Stad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Ottosdal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Sannieshof </a:t>
            </a:r>
            <a:r>
              <a:rPr lang="en-US" sz="1400" dirty="0" smtClean="0">
                <a:solidFill>
                  <a:prstClr val="black"/>
                </a:solidFill>
              </a:rPr>
              <a:t>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Delareyvill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Dinokana </a:t>
            </a:r>
            <a:r>
              <a:rPr lang="en-US" sz="1400" dirty="0" smtClean="0">
                <a:solidFill>
                  <a:prstClr val="black"/>
                </a:solidFill>
              </a:rPr>
              <a:t>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Lehurutshe Clini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Bodibe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Coligny Clinic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u="sng" dirty="0" smtClean="0">
                <a:solidFill>
                  <a:srgbClr val="00B050"/>
                </a:solidFill>
              </a:rPr>
              <a:t>Dr Ruth Segomotsi Mompati (5)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Vryburg Private Hospital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Mamusa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Morokw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Tlakgameng CHC</a:t>
            </a:r>
          </a:p>
          <a:p>
            <a:pPr marL="285750" indent="-285750" defTabSz="91440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Ganyesa </a:t>
            </a:r>
            <a:r>
              <a:rPr lang="en-US" sz="1400" dirty="0" smtClean="0">
                <a:solidFill>
                  <a:prstClr val="black"/>
                </a:solidFill>
              </a:rPr>
              <a:t>CHC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</a:rPr>
              <a:t> </a:t>
            </a:r>
            <a:r>
              <a:rPr lang="en-US" sz="1400" b="1" dirty="0" smtClean="0">
                <a:solidFill>
                  <a:srgbClr val="FF0000"/>
                </a:solidFill>
              </a:rPr>
              <a:t>Total = 15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9462" name="TextBox 17"/>
          <p:cNvSpPr txBox="1">
            <a:spLocks noChangeArrowheads="1"/>
          </p:cNvSpPr>
          <p:nvPr/>
        </p:nvSpPr>
        <p:spPr bwMode="auto">
          <a:xfrm>
            <a:off x="4386263" y="2330450"/>
            <a:ext cx="1905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9463" name="TextBox 18"/>
          <p:cNvSpPr txBox="1">
            <a:spLocks noChangeArrowheads="1"/>
          </p:cNvSpPr>
          <p:nvPr/>
        </p:nvSpPr>
        <p:spPr bwMode="auto">
          <a:xfrm flipH="1">
            <a:off x="4191000" y="2209800"/>
            <a:ext cx="3429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64" name="TextBox 19"/>
          <p:cNvSpPr txBox="1">
            <a:spLocks noChangeArrowheads="1"/>
          </p:cNvSpPr>
          <p:nvPr/>
        </p:nvSpPr>
        <p:spPr bwMode="auto">
          <a:xfrm>
            <a:off x="3927475" y="2328863"/>
            <a:ext cx="1524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65" name="TextBox 20"/>
          <p:cNvSpPr txBox="1">
            <a:spLocks noChangeArrowheads="1"/>
          </p:cNvSpPr>
          <p:nvPr/>
        </p:nvSpPr>
        <p:spPr bwMode="auto">
          <a:xfrm>
            <a:off x="2894013" y="2698750"/>
            <a:ext cx="2301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66" name="TextBox 21"/>
          <p:cNvSpPr txBox="1">
            <a:spLocks noChangeArrowheads="1"/>
          </p:cNvSpPr>
          <p:nvPr/>
        </p:nvSpPr>
        <p:spPr bwMode="auto">
          <a:xfrm>
            <a:off x="4576763" y="3781425"/>
            <a:ext cx="14763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67" name="TextBox 22"/>
          <p:cNvSpPr txBox="1">
            <a:spLocks noChangeArrowheads="1"/>
          </p:cNvSpPr>
          <p:nvPr/>
        </p:nvSpPr>
        <p:spPr bwMode="auto">
          <a:xfrm>
            <a:off x="3863975" y="3597275"/>
            <a:ext cx="1968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68" name="TextBox 23"/>
          <p:cNvSpPr txBox="1">
            <a:spLocks noChangeArrowheads="1"/>
          </p:cNvSpPr>
          <p:nvPr/>
        </p:nvSpPr>
        <p:spPr bwMode="auto">
          <a:xfrm>
            <a:off x="3276600" y="4411663"/>
            <a:ext cx="3048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69" name="TextBox 24"/>
          <p:cNvSpPr txBox="1">
            <a:spLocks noChangeArrowheads="1"/>
          </p:cNvSpPr>
          <p:nvPr/>
        </p:nvSpPr>
        <p:spPr bwMode="auto">
          <a:xfrm>
            <a:off x="2286000" y="3494088"/>
            <a:ext cx="152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0" name="TextBox 25"/>
          <p:cNvSpPr txBox="1">
            <a:spLocks noChangeArrowheads="1"/>
          </p:cNvSpPr>
          <p:nvPr/>
        </p:nvSpPr>
        <p:spPr bwMode="auto">
          <a:xfrm>
            <a:off x="2286000" y="3967163"/>
            <a:ext cx="152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9471" name="TextBox 26"/>
          <p:cNvSpPr txBox="1">
            <a:spLocks noChangeArrowheads="1"/>
          </p:cNvSpPr>
          <p:nvPr/>
        </p:nvSpPr>
        <p:spPr bwMode="auto">
          <a:xfrm>
            <a:off x="3429000" y="3200400"/>
            <a:ext cx="1524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2" name="TextBox 27"/>
          <p:cNvSpPr txBox="1">
            <a:spLocks noChangeArrowheads="1"/>
          </p:cNvSpPr>
          <p:nvPr/>
        </p:nvSpPr>
        <p:spPr bwMode="auto">
          <a:xfrm>
            <a:off x="2894013" y="3308350"/>
            <a:ext cx="2301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3" name="TextBox 28"/>
          <p:cNvSpPr txBox="1">
            <a:spLocks noChangeArrowheads="1"/>
          </p:cNvSpPr>
          <p:nvPr/>
        </p:nvSpPr>
        <p:spPr bwMode="auto">
          <a:xfrm>
            <a:off x="2525713" y="4830763"/>
            <a:ext cx="2254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4" name="TextBox 29"/>
          <p:cNvSpPr txBox="1">
            <a:spLocks noChangeArrowheads="1"/>
          </p:cNvSpPr>
          <p:nvPr/>
        </p:nvSpPr>
        <p:spPr bwMode="auto">
          <a:xfrm>
            <a:off x="3008313" y="4597400"/>
            <a:ext cx="26828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5" name="TextBox 30"/>
          <p:cNvSpPr txBox="1">
            <a:spLocks noChangeArrowheads="1"/>
          </p:cNvSpPr>
          <p:nvPr/>
        </p:nvSpPr>
        <p:spPr bwMode="auto">
          <a:xfrm>
            <a:off x="1676400" y="3597275"/>
            <a:ext cx="1524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9476" name="TextBox 25599"/>
          <p:cNvSpPr txBox="1">
            <a:spLocks noChangeArrowheads="1"/>
          </p:cNvSpPr>
          <p:nvPr/>
        </p:nvSpPr>
        <p:spPr bwMode="auto">
          <a:xfrm>
            <a:off x="3276600" y="3068638"/>
            <a:ext cx="1524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graphicFrame>
        <p:nvGraphicFramePr>
          <p:cNvPr id="67613" name="Group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957033"/>
              </p:ext>
            </p:extLst>
          </p:nvPr>
        </p:nvGraphicFramePr>
        <p:xfrm>
          <a:off x="22225" y="5818410"/>
          <a:ext cx="9121775" cy="537940"/>
        </p:xfrm>
        <a:graphic>
          <a:graphicData uri="http://schemas.openxmlformats.org/drawingml/2006/table">
            <a:tbl>
              <a:tblPr/>
              <a:tblGrid>
                <a:gridCol w="9121775"/>
              </a:tblGrid>
              <a:tr h="53794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While awaiting connectivity to the rest of Health Facilities in the Province, offices  continued to collect birth applications manually and processed them at the offices.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36327" y="6492875"/>
            <a:ext cx="2133600" cy="365125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15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868946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199" y="109062"/>
            <a:ext cx="8279147" cy="331152"/>
          </a:xfrm>
          <a:prstGeom prst="rect">
            <a:avLst/>
          </a:prstGeom>
          <a:solidFill>
            <a:srgbClr val="FFC000"/>
          </a:solidFill>
        </p:spPr>
        <p:txBody>
          <a:bodyPr anchor="ctr">
            <a:normAutofit fontScale="9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VINCIAL PERFORMANCE 2016/17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162101"/>
              </p:ext>
            </p:extLst>
          </p:nvPr>
        </p:nvGraphicFramePr>
        <p:xfrm>
          <a:off x="506749" y="622536"/>
          <a:ext cx="8229598" cy="1895870"/>
        </p:xfrm>
        <a:graphic>
          <a:graphicData uri="http://schemas.openxmlformats.org/drawingml/2006/table">
            <a:tbl>
              <a:tblPr firstRow="1" bandRow="1"/>
              <a:tblGrid>
                <a:gridCol w="1476848"/>
                <a:gridCol w="1905000"/>
                <a:gridCol w="2286000"/>
                <a:gridCol w="2561750"/>
              </a:tblGrid>
              <a:tr h="5754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Period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otal Quarterly Targets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Achieved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Not Achieved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3385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Q 1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85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Q 2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85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Q3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Q4</a:t>
                      </a: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 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1432" marR="91432" marT="45757" marB="45757">
                    <a:lnL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457200" y="2615402"/>
            <a:ext cx="8328696" cy="483096"/>
          </a:xfrm>
          <a:prstGeom prst="roundRect">
            <a:avLst/>
          </a:prstGeom>
          <a:solidFill>
            <a:srgbClr val="EEECE1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rovince did not achieve payment of invoices within 30 days during Q1 of 2016/17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7160" y="3048000"/>
            <a:ext cx="8858249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e Province achieved 7 out of the 8 targets (88%) during 2016/17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irth Registration within 30 calendar days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mart ID Cards issued (received at offices) to 2,200,000 </a:t>
            </a: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itizens</a:t>
            </a:r>
            <a:r>
              <a:rPr kumimoji="0" lang="en-US" alt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	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detected employers in contravention of the Immigration Act (Act 13 of 2002) charged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detected transgressors in contravention of the Immigration Act (Act 13 of 2002) charged 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Undocumented foreigners deported within 30 calendar days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Detected undocumented foreigners transferred to Lindela within 20  calendar days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Detected fraudulent marriages &amp; marriage of convenience cases finalised  </a:t>
            </a:r>
            <a:r>
              <a:rPr kumimoji="0" lang="en-US" altLang="en-US" sz="1100" b="0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investigation and recommendation submitted) </a:t>
            </a:r>
            <a:r>
              <a:rPr kumimoji="0" lang="en-US" alt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ithin 60 day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None/>
              <a:tabLst/>
              <a:defRPr/>
            </a:pPr>
            <a:r>
              <a:rPr kumimoji="0" lang="en-US" altLang="en-US" sz="1400" b="1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arget not achieved during the Financial Year 2016/17</a:t>
            </a:r>
          </a:p>
          <a:p>
            <a:pPr marL="628650" marR="0" lvl="1" indent="-17145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0% of valid invoices settled within 30 days of certification</a:t>
            </a:r>
            <a:endParaRPr kumimoji="0" lang="en-US" altLang="en-US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7D0900"/>
              </a:buClr>
              <a:buSzTx/>
              <a:buFontTx/>
              <a:buAutoNum type="arabicPeriod" startAt="2"/>
              <a:tabLst/>
              <a:defRPr/>
            </a:pPr>
            <a:endParaRPr kumimoji="0" lang="en-US" alt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861809" y="640113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2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847748"/>
              </p:ext>
            </p:extLst>
          </p:nvPr>
        </p:nvGraphicFramePr>
        <p:xfrm>
          <a:off x="5809" y="-1"/>
          <a:ext cx="9174703" cy="3955275"/>
        </p:xfrm>
        <a:graphic>
          <a:graphicData uri="http://schemas.openxmlformats.org/drawingml/2006/table">
            <a:tbl>
              <a:tblPr/>
              <a:tblGrid>
                <a:gridCol w="1181139"/>
                <a:gridCol w="1157582"/>
                <a:gridCol w="1440576"/>
                <a:gridCol w="1323296"/>
                <a:gridCol w="1157695"/>
                <a:gridCol w="1337188"/>
                <a:gridCol w="1577227"/>
              </a:tblGrid>
              <a:tr h="803435">
                <a:tc gridSpan="7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IRTH</a:t>
                      </a:r>
                      <a:r>
                        <a:rPr lang="en-ZA" sz="18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EGISTRATION </a:t>
                      </a:r>
                      <a:r>
                        <a:rPr lang="en-ZA" sz="18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MPARIS</a:t>
                      </a:r>
                      <a:r>
                        <a:rPr lang="en-ZA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N </a:t>
                      </a:r>
                    </a:p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ND</a:t>
                      </a:r>
                      <a:r>
                        <a:rPr lang="en-US" sz="1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PROJECTED ANNUAL TARGET</a:t>
                      </a:r>
                      <a:endParaRPr lang="en-ZA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</a:tr>
              <a:tr h="96412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aseline projected Actual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Contribution to the annual target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jected annual target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ctual performance</a:t>
                      </a:r>
                      <a:endParaRPr lang="en-ZA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Achieved/not achieved</a:t>
                      </a:r>
                      <a:endParaRPr lang="en-ZA" sz="16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</a:tr>
              <a:tr h="36530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3/14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ZA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4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3.5%</a:t>
                      </a:r>
                      <a:endParaRPr lang="en-ZA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3 139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  <a:r>
                        <a:rPr lang="en-US" sz="14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139</a:t>
                      </a:r>
                      <a:endParaRPr lang="en-ZA" sz="14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 129</a:t>
                      </a:r>
                      <a:endParaRPr lang="en-ZA" sz="14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ZA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600" b="1" dirty="0" smtClean="0">
                          <a:latin typeface="Arial Narrow" panose="020B0606020202030204" pitchFamily="34" charset="0"/>
                        </a:rPr>
                        <a:t>Achieved</a:t>
                      </a:r>
                      <a:endParaRPr lang="en-ZA" sz="140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  <a:tr h="35218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4/15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8</a:t>
                      </a:r>
                      <a:r>
                        <a:rPr lang="en-ZA" sz="14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129</a:t>
                      </a:r>
                      <a:endParaRPr lang="en-ZA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7%</a:t>
                      </a:r>
                      <a:endParaRPr lang="en-ZA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8 395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8 395</a:t>
                      </a: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 404</a:t>
                      </a:r>
                      <a:endParaRPr lang="en-ZA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600" b="1" dirty="0" smtClean="0">
                          <a:latin typeface="Arial Narrow" panose="020B0606020202030204" pitchFamily="34" charset="0"/>
                        </a:rPr>
                        <a:t>Achieved</a:t>
                      </a:r>
                      <a:endParaRPr lang="en-ZA" sz="140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  <a:tr h="35993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5/16</a:t>
                      </a:r>
                      <a:endParaRPr lang="en-ZA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 404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3%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7 261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7 261</a:t>
                      </a:r>
                      <a:endParaRPr kumimoji="0" lang="en-ZA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5 121</a:t>
                      </a: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6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Not</a:t>
                      </a:r>
                      <a:r>
                        <a:rPr lang="en-US" sz="1600" b="1" baseline="0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a</a:t>
                      </a:r>
                      <a:r>
                        <a:rPr lang="en-US" sz="1600" b="1" dirty="0" smtClean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chieved</a:t>
                      </a:r>
                      <a:endParaRPr lang="en-ZA" sz="14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  <a:tr h="378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6/17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5 121</a:t>
                      </a:r>
                      <a:endParaRPr lang="en-ZA" sz="1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5%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 653</a:t>
                      </a:r>
                      <a:endParaRPr lang="en-ZA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 653</a:t>
                      </a:r>
                      <a:endParaRPr kumimoji="0" lang="en-ZA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 681</a:t>
                      </a: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fontAlgn="ctr" latinLnBrk="0" hangingPunct="1"/>
                      <a:r>
                        <a:rPr lang="en-US" sz="1600" b="1" dirty="0" smtClean="0">
                          <a:latin typeface="Arial Narrow" panose="020B0606020202030204" pitchFamily="34" charset="0"/>
                        </a:rPr>
                        <a:t>Achieved</a:t>
                      </a:r>
                      <a:endParaRPr lang="en-ZA" sz="140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  <a:tr h="62216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7/18 Projection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8 681  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6%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400" b="1" u="none" strike="noStrike" kern="1200" dirty="0" smtClean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9 315</a:t>
                      </a:r>
                      <a:endParaRPr lang="en-ZA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9 315</a:t>
                      </a:r>
                      <a:endParaRPr kumimoji="0" lang="en-ZA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endParaRPr lang="en-ZA" sz="1400" kern="120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8754" y="4120737"/>
            <a:ext cx="891836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u="sng" dirty="0" smtClean="0"/>
              <a:t>Formula to determine the provincial targets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ZA" dirty="0" smtClean="0"/>
              <a:t>Projected Annual Performance of the province/Projected Annual Performance of the branch x 100/1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en-ZA" dirty="0" smtClean="0"/>
              <a:t>The target for 2017/18 was increased because of the over achievement in the preceding year (2016/17)</a:t>
            </a:r>
          </a:p>
          <a:p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3522" y="637127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667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9"/>
          <p:cNvSpPr>
            <a:spLocks noGrp="1"/>
          </p:cNvSpPr>
          <p:nvPr>
            <p:ph type="title"/>
          </p:nvPr>
        </p:nvSpPr>
        <p:spPr>
          <a:xfrm>
            <a:off x="457200" y="34767"/>
            <a:ext cx="8229600" cy="479742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125665"/>
              </p:ext>
            </p:extLst>
          </p:nvPr>
        </p:nvGraphicFramePr>
        <p:xfrm>
          <a:off x="80010" y="514509"/>
          <a:ext cx="8983980" cy="5440482"/>
        </p:xfrm>
        <a:graphic>
          <a:graphicData uri="http://schemas.openxmlformats.org/drawingml/2006/table">
            <a:tbl>
              <a:tblPr firstRow="1" bandRow="1"/>
              <a:tblGrid>
                <a:gridCol w="2216231"/>
                <a:gridCol w="2936463"/>
                <a:gridCol w="3831286"/>
              </a:tblGrid>
              <a:tr h="381289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 750 000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7920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600" b="1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(APRIL 2016 – MARCH 2017)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600" b="1" dirty="0" smtClean="0">
                          <a:latin typeface="Arial Narrow" panose="020B0606020202030204" pitchFamily="34" charset="0"/>
                        </a:rPr>
                        <a:t>PLANNED</a:t>
                      </a:r>
                      <a:r>
                        <a:rPr lang="en-US" sz="1600" b="1" baseline="0" dirty="0" smtClean="0">
                          <a:latin typeface="Arial Narrow" panose="020B0606020202030204" pitchFamily="34" charset="0"/>
                        </a:rPr>
                        <a:t> ACTIONS TO ACHIEVE THE TARGET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2214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ZA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46</a:t>
                      </a:r>
                      <a:r>
                        <a:rPr lang="en-Z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 653</a:t>
                      </a:r>
                      <a:r>
                        <a:rPr lang="en-ZA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  Birth registered within 30    calendar days</a:t>
                      </a: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1 79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12 61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  823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7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1 66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12 72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1 061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9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1 11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11 67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   555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5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2 07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13  09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3  70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108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107%</a:t>
                      </a:r>
                      <a:endParaRPr lang="en-US" sz="12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Awarenes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s to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 pregnant women was conducted during pre-natal visit at HF’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The Province used birth occurrence registers to follow-up on all unregistered babies at HF’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High birth and LRB volume areas were identified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to promote early birth registration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Meetings were held with HF’s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 management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 and sub-district offices.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Officials were deployed on rotational basis to attend to HF’s on weekends and public holidays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Unconnected HF’s were visited on Weekly basis to register new born babie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Mobile Offices deployed for birth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 registration in all far remote  areas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Offices monitored implementation of NW Birth Registration Strategies.</a:t>
                      </a: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3039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30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9"/>
          <p:cNvSpPr>
            <a:spLocks noGrp="1"/>
          </p:cNvSpPr>
          <p:nvPr>
            <p:ph type="title"/>
          </p:nvPr>
        </p:nvSpPr>
        <p:spPr>
          <a:xfrm>
            <a:off x="457200" y="34767"/>
            <a:ext cx="8229600" cy="479742"/>
          </a:xfrm>
        </p:spPr>
        <p:txBody>
          <a:bodyPr/>
          <a:lstStyle/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1759101"/>
              </p:ext>
            </p:extLst>
          </p:nvPr>
        </p:nvGraphicFramePr>
        <p:xfrm>
          <a:off x="80010" y="514509"/>
          <a:ext cx="8983980" cy="5440482"/>
        </p:xfrm>
        <a:graphic>
          <a:graphicData uri="http://schemas.openxmlformats.org/drawingml/2006/table">
            <a:tbl>
              <a:tblPr firstRow="1" bandRow="1"/>
              <a:tblGrid>
                <a:gridCol w="2216231"/>
                <a:gridCol w="2936463"/>
                <a:gridCol w="3831286"/>
              </a:tblGrid>
              <a:tr h="381289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 750 000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7920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600" b="1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(APRIL 2017 – MARCH 2018)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b="1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600" b="1" dirty="0" smtClean="0">
                          <a:latin typeface="Arial Narrow" panose="020B0606020202030204" pitchFamily="34" charset="0"/>
                        </a:rPr>
                        <a:t>PLANNED</a:t>
                      </a:r>
                      <a:r>
                        <a:rPr lang="en-US" sz="1600" b="1" baseline="0" dirty="0" smtClean="0">
                          <a:latin typeface="Arial Narrow" panose="020B0606020202030204" pitchFamily="34" charset="0"/>
                        </a:rPr>
                        <a:t> ACTIONS TO ACHIEVE THE TARGET</a:t>
                      </a:r>
                      <a:endParaRPr lang="en-ZA" sz="1600" b="1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2214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ZA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49 315  Birth registered within 30    calendar days</a:t>
                      </a: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 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2 679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13 05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 =     375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= 103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B: Although the margin of achievement compared to the previous years is lower, the province registered more babies in relation to the same quarters in the previous years.</a:t>
                      </a: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Awarenes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s to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 pregnant women was conducted during pre-natal visit at HF’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The Province used birth occurrence registers to follow-up on all unregistered babies at HF’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High birth and LRB volume areas were identified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to promote early birth registration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Officials were deployed on rotational basis to attend to HF’s on weekends and public holidays </a:t>
                      </a:r>
                      <a:r>
                        <a:rPr lang="en-US" sz="1400" b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(deployment</a:t>
                      </a:r>
                      <a:r>
                        <a:rPr lang="en-US" sz="1400" b="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 stopped on 15</a:t>
                      </a:r>
                      <a:r>
                        <a:rPr lang="en-US" sz="1400" b="0" baseline="3000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th</a:t>
                      </a:r>
                      <a:r>
                        <a:rPr lang="en-US" sz="1400" b="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 June 2017 due to working hours dispute</a:t>
                      </a:r>
                      <a:r>
                        <a:rPr lang="en-US" sz="1400" b="0" baseline="0" dirty="0" smtClean="0"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en-US" sz="1400" b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Unconnected HF’s were visited on weekly basis to register new born babies. </a:t>
                      </a:r>
                    </a:p>
                    <a:p>
                      <a:pPr marL="285750" indent="-285750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latin typeface="Arial" pitchFamily="34" charset="0"/>
                          <a:cs typeface="Arial" pitchFamily="34" charset="0"/>
                        </a:rPr>
                        <a:t>Offices monitored implementation of NW Birth Registration Strategies.</a:t>
                      </a: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30390" y="6383152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735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3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of Content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271272"/>
              </p:ext>
            </p:extLst>
          </p:nvPr>
        </p:nvGraphicFramePr>
        <p:xfrm>
          <a:off x="80010" y="697231"/>
          <a:ext cx="8961120" cy="6275743"/>
        </p:xfrm>
        <a:graphic>
          <a:graphicData uri="http://schemas.openxmlformats.org/drawingml/2006/table">
            <a:tbl>
              <a:tblPr/>
              <a:tblGrid>
                <a:gridCol w="7416855"/>
                <a:gridCol w="1544265"/>
              </a:tblGrid>
              <a:tr h="3047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ENT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LIDE NO.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</a:tr>
              <a:tr h="111180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r>
                        <a:rPr lang="en-US" sz="1600" b="1" dirty="0" smtClean="0"/>
                        <a:t>Provincial</a:t>
                      </a:r>
                      <a:r>
                        <a:rPr lang="en-US" sz="1600" b="1" baseline="0" dirty="0" smtClean="0"/>
                        <a:t> Overview and Footprint</a:t>
                      </a:r>
                      <a:endParaRPr lang="en-US" sz="1400" b="0" dirty="0" smtClean="0"/>
                    </a:p>
                    <a:p>
                      <a:pPr marL="285750" indent="-285750">
                        <a:buClr>
                          <a:schemeClr val="bg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="0" dirty="0" smtClean="0"/>
                        <a:t>Introduction</a:t>
                      </a:r>
                      <a:r>
                        <a:rPr lang="en-US" sz="1400" b="0" baseline="0" dirty="0" smtClean="0"/>
                        <a:t> and Background</a:t>
                      </a:r>
                    </a:p>
                    <a:p>
                      <a:pPr marL="285750" indent="-285750">
                        <a:buClr>
                          <a:schemeClr val="bg2"/>
                        </a:buClr>
                        <a:buFont typeface="Wingdings" pitchFamily="2" charset="2"/>
                        <a:buChar char="§"/>
                      </a:pPr>
                      <a:r>
                        <a:rPr lang="en-US" sz="1400" b="0" baseline="0" dirty="0" smtClean="0"/>
                        <a:t>Provincial Management and Demarcation Operating Model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400" b="0" baseline="0" dirty="0" smtClean="0"/>
                        <a:t>Summary of the current footprint of the North West Province</a:t>
                      </a:r>
                    </a:p>
                  </a:txBody>
                  <a:tcPr marL="91427" marR="91427" marT="45704" marB="45704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                                                                                                                   5                                                                             6                                     7-15                      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9701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  <a:defRPr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vincial Performance 2016/17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Birth Registration and Projected annual target 2013/14 – 2017/18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verview Analysis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Birth Registration within 30 days  - 2016/17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Birth Registration within 30 days  - 2017/18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Comparative Analysis of Birth Registration for Q1 : 2013/14 – 2017/18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Late Registration of Birth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D Smart Card – 2016/17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D Smartcard  - 2017/18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obile Offices</a:t>
                      </a:r>
                    </a:p>
                  </a:txBody>
                  <a:tcPr marL="91427" marR="91427" marT="45704" marB="45704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6                    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7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8      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9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0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1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2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3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4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790706" y="6335651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131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 descr="rtrtrtrtrtr&#10;" title="Comrtrtrtrtr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2232963"/>
              </p:ext>
            </p:extLst>
          </p:nvPr>
        </p:nvGraphicFramePr>
        <p:xfrm>
          <a:off x="106878" y="748145"/>
          <a:ext cx="8942119" cy="5118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76894" y="249382"/>
            <a:ext cx="7968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 smtClean="0"/>
              <a:t>Comparative Analysis of birth registration for Q1: 2013/14 – 2017/18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15397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19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145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787400"/>
          </a:xfrm>
          <a:solidFill>
            <a:srgbClr val="00FF00"/>
          </a:solidFill>
        </p:spPr>
        <p:txBody>
          <a:bodyPr/>
          <a:lstStyle/>
          <a:p>
            <a:pPr eaLnBrk="1" hangingPunct="1"/>
            <a:r>
              <a:rPr lang="en-ZA" sz="1800" dirty="0" smtClean="0"/>
              <a:t>LATE REGISTRATION OF BIRTHS (31DAYS-1YR, 1-7 YRS, 7-14YRS &amp; 15YRS &amp; ABOVE) </a:t>
            </a:r>
            <a:br>
              <a:rPr lang="en-ZA" sz="1800" dirty="0" smtClean="0"/>
            </a:br>
            <a:endParaRPr lang="en-GB" sz="1800" dirty="0" smtClean="0"/>
          </a:p>
        </p:txBody>
      </p:sp>
      <p:graphicFrame>
        <p:nvGraphicFramePr>
          <p:cNvPr id="42041" name="Group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0535884"/>
              </p:ext>
            </p:extLst>
          </p:nvPr>
        </p:nvGraphicFramePr>
        <p:xfrm>
          <a:off x="107949" y="814388"/>
          <a:ext cx="8846046" cy="4663454"/>
        </p:xfrm>
        <a:graphic>
          <a:graphicData uri="http://schemas.openxmlformats.org/drawingml/2006/table">
            <a:tbl>
              <a:tblPr/>
              <a:tblGrid>
                <a:gridCol w="5449703"/>
                <a:gridCol w="1650670"/>
                <a:gridCol w="1745673"/>
              </a:tblGrid>
              <a:tr h="3952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ITEMS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/17 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Q1 2017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  <a:tr h="491132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ening Balance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2740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1132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LRB applications received/on hand 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10378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5773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LRB applications adjudicated 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(7626)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(2074)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3846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applications finalised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6981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8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7652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applications rejected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38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18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9053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cases/files closed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24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97024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applications referred to IMS for investigations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595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Arial" charset="0"/>
                          <a:cs typeface="Arial" charset="0"/>
                        </a:rPr>
                        <a:t>24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90963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ALANCE BROUGHT FORWARD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740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 699</a:t>
                      </a:r>
                    </a:p>
                  </a:txBody>
                  <a:tcPr marT="45717" marB="45717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sp>
        <p:nvSpPr>
          <p:cNvPr id="42037" name="Text Box 112"/>
          <p:cNvSpPr txBox="1">
            <a:spLocks noChangeArrowheads="1"/>
          </p:cNvSpPr>
          <p:nvPr/>
        </p:nvSpPr>
        <p:spPr bwMode="auto">
          <a:xfrm>
            <a:off x="107949" y="5772532"/>
            <a:ext cx="8642350" cy="861774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Offices </a:t>
            </a:r>
            <a:r>
              <a:rPr lang="en-US" sz="1200" dirty="0">
                <a:solidFill>
                  <a:prstClr val="black"/>
                </a:solidFill>
                <a:latin typeface="Arial" charset="0"/>
              </a:rPr>
              <a:t>are conducting adjudication on  the </a:t>
            </a: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spot for category 31 days to 1 year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2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Turnaround time  is 180 days for category 31days to 1 year, 1-7years &amp; 7-14 year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200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Turnaround time for category 15 years &amp; above is 120 days.</a:t>
            </a:r>
            <a:endParaRPr lang="en-US" sz="1200" dirty="0">
              <a:solidFill>
                <a:prstClr val="black"/>
              </a:solidFill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sz="1200" dirty="0">
                <a:solidFill>
                  <a:prstClr val="black"/>
                </a:solidFill>
                <a:latin typeface="Arial" charset="0"/>
              </a:rPr>
              <a:t> Cases older than the prescribed period are </a:t>
            </a:r>
            <a:r>
              <a:rPr lang="en-US" sz="1200" dirty="0" smtClean="0">
                <a:solidFill>
                  <a:prstClr val="black"/>
                </a:solidFill>
                <a:latin typeface="Arial" charset="0"/>
              </a:rPr>
              <a:t>closed after three attempt to get the client. </a:t>
            </a:r>
            <a:endParaRPr lang="en-US" sz="12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477546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777492"/>
              </p:ext>
            </p:extLst>
          </p:nvPr>
        </p:nvGraphicFramePr>
        <p:xfrm>
          <a:off x="91440" y="720091"/>
          <a:ext cx="8944610" cy="5067904"/>
        </p:xfrm>
        <a:graphic>
          <a:graphicData uri="http://schemas.openxmlformats.org/drawingml/2006/table">
            <a:tbl>
              <a:tblPr firstRow="1" bandRow="1"/>
              <a:tblGrid>
                <a:gridCol w="2791238"/>
                <a:gridCol w="2338876"/>
                <a:gridCol w="3814496"/>
              </a:tblGrid>
              <a:tr h="424144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68522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LANNED  ACTIONS TO  ACHIEVE THE TARGET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395853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176</a:t>
                      </a:r>
                      <a:r>
                        <a:rPr lang="en-Z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 227 </a:t>
                      </a:r>
                      <a:r>
                        <a:rPr lang="en-ZA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Smart ID</a:t>
                      </a:r>
                      <a:r>
                        <a:rPr lang="en-Z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 Cards issued to citizens 16 years of age and older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40 04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51 62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11 582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129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 </a:t>
                      </a:r>
                      <a:r>
                        <a:rPr lang="en-US" sz="11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= 44 08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45 97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1898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4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48 02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51 83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 =   3811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 =108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44 08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74 57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30 49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= 169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sng" strike="noStrike" kern="1200" baseline="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Achievement = 127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ffices visited Villages//churches through invitations and special arrangements for marketing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xtended hours </a:t>
                      </a:r>
                      <a:r>
                        <a:rPr lang="en-US" sz="1400" b="1" u="sng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(Super Sunday)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ontinued to invite schools learners turning 16 years and grade 12 learners for application of Smart ID Card on specific days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ntensified arrangements with SASSA, Old age homes and sector Departments, etc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buted  flyers at hot spot areas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ffective utilization of stakeholder forums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eekly marketing through local media.  .</a:t>
                      </a:r>
                    </a:p>
                    <a:p>
                      <a:pPr eaLnBrk="1" hangingPunct="1"/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  <a:p>
                      <a:pPr marL="0" indent="0" algn="just" defTabSz="914400" rtl="0" eaLnBrk="1" latinLnBrk="0" hangingPunct="1">
                        <a:lnSpc>
                          <a:spcPct val="90000"/>
                        </a:lnSpc>
                        <a:buClr>
                          <a:schemeClr val="bg2"/>
                        </a:buClr>
                        <a:buFont typeface="Arial" pitchFamily="34" charset="0"/>
                        <a:buNone/>
                        <a:defRPr/>
                      </a:pPr>
                      <a:endParaRPr kumimoji="0" lang="en-ZA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83152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517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7885204"/>
              </p:ext>
            </p:extLst>
          </p:nvPr>
        </p:nvGraphicFramePr>
        <p:xfrm>
          <a:off x="91440" y="720091"/>
          <a:ext cx="8944610" cy="5311866"/>
        </p:xfrm>
        <a:graphic>
          <a:graphicData uri="http://schemas.openxmlformats.org/drawingml/2006/table">
            <a:tbl>
              <a:tblPr firstRow="1" bandRow="1"/>
              <a:tblGrid>
                <a:gridCol w="2791238"/>
                <a:gridCol w="2338876"/>
                <a:gridCol w="3814496"/>
              </a:tblGrid>
              <a:tr h="355542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5743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LANNED  ACTIONS TO  ACHIEVE THE TARGET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2757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Z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253 663 </a:t>
                      </a:r>
                      <a:r>
                        <a:rPr lang="en-ZA" sz="12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Smart ID</a:t>
                      </a:r>
                      <a:r>
                        <a:rPr lang="en-Z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 Cards issued to citizens 16 years of age and older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68 489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52 80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(15  681)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77,1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B: Although the target is not achieved the province managed to issue more cards in this quarter compared to the same period in the previous years.</a:t>
                      </a:r>
                      <a:endParaRPr lang="en-ZA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ffices visited Villages//churches through invitations and special arrangements for marketing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buted  flyers at hot spot areas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ffective utilization of stakeholder forums.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rketing through local media (Local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radio stations &amp; newspapers) although it is expensive.</a:t>
                      </a: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HALLENGES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Local radio stations no longer willing to provide free slots for marketing of the ID smartcard. 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Limited budget available for communication in the province (each district allocated R5000.00). </a:t>
                      </a:r>
                    </a:p>
                    <a:p>
                      <a:pPr marL="285750" indent="-285750" algn="l" eaLnBrk="1" hangingPunct="1">
                        <a:buFont typeface="Arial" pitchFamily="34" charset="0"/>
                        <a:buChar char="•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hange of requirements for first time applicants (parents to accompany applicants) impacted on the number of learners coming to offices to apply.</a:t>
                      </a: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680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6F988BC-8D4D-43BB-8A40-DA66CDD34187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21508" name="Picture 43" descr="DSC014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97038" y="708025"/>
            <a:ext cx="1138237" cy="88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9" name="Picture 43" descr="DSC014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89750" y="3276600"/>
            <a:ext cx="1219200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0" name="Picture 43" descr="DSC014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72350" y="2098675"/>
            <a:ext cx="1227138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1" name="Picture 43" descr="DSC014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24200" y="765175"/>
            <a:ext cx="11430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2" name="Picture 43" descr="DSC0142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59371" y="620688"/>
            <a:ext cx="11430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44488" y="4209152"/>
            <a:ext cx="12192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5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3528" y="2901777"/>
            <a:ext cx="12192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6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0413" y="763588"/>
            <a:ext cx="12192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8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79931" y="1100769"/>
            <a:ext cx="1131888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9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2870" y="1617663"/>
            <a:ext cx="12192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31" name="TextBox 15"/>
          <p:cNvSpPr txBox="1">
            <a:spLocks noChangeArrowheads="1"/>
          </p:cNvSpPr>
          <p:nvPr/>
        </p:nvSpPr>
        <p:spPr bwMode="auto">
          <a:xfrm>
            <a:off x="609600" y="228600"/>
            <a:ext cx="81534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3000" b="1" dirty="0">
                <a:solidFill>
                  <a:prstClr val="black"/>
                </a:solidFill>
              </a:rPr>
              <a:t>MOBILE OFFICES</a:t>
            </a:r>
          </a:p>
        </p:txBody>
      </p:sp>
      <p:graphicFrame>
        <p:nvGraphicFramePr>
          <p:cNvPr id="30757" name="Group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144683"/>
              </p:ext>
            </p:extLst>
          </p:nvPr>
        </p:nvGraphicFramePr>
        <p:xfrm>
          <a:off x="0" y="5373688"/>
          <a:ext cx="9144000" cy="1008062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00806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The province has a total of 11 mobile units of which 3 are fully functional and the remaining 8 are only driveable. Province is responsible for roadworthy and maintenance of the units. Channel Management is in charge for maintenance of generators, satellite dishes, computer hardware and software.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pic>
        <p:nvPicPr>
          <p:cNvPr id="30" name="Picture 2" descr="Image result for south Africanorth west province map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580" y="1677465"/>
            <a:ext cx="4572000" cy="3114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Arrow Connector 3"/>
          <p:cNvCxnSpPr/>
          <p:nvPr/>
        </p:nvCxnSpPr>
        <p:spPr>
          <a:xfrm flipH="1">
            <a:off x="1918418" y="4271702"/>
            <a:ext cx="1777282" cy="3644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H="1" flipV="1">
            <a:off x="1580478" y="3388931"/>
            <a:ext cx="1722834" cy="2799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 flipV="1">
            <a:off x="1697039" y="2098676"/>
            <a:ext cx="2730945" cy="9864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 flipV="1">
            <a:off x="2483768" y="1677989"/>
            <a:ext cx="1944216" cy="137636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 flipV="1">
            <a:off x="3695700" y="1677989"/>
            <a:ext cx="990600" cy="11749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814371" y="1593743"/>
            <a:ext cx="25221" cy="9181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5580112" y="1677989"/>
            <a:ext cx="515888" cy="91392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6372200" y="1902141"/>
            <a:ext cx="712588" cy="3633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04" name="Straight Arrow Connector 21503"/>
          <p:cNvCxnSpPr/>
          <p:nvPr/>
        </p:nvCxnSpPr>
        <p:spPr>
          <a:xfrm>
            <a:off x="5501654" y="2677721"/>
            <a:ext cx="177827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22" name="Straight Arrow Connector 21521"/>
          <p:cNvCxnSpPr/>
          <p:nvPr/>
        </p:nvCxnSpPr>
        <p:spPr>
          <a:xfrm>
            <a:off x="5580112" y="3751262"/>
            <a:ext cx="1121169" cy="45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24" name="Straight Arrow Connector 21523"/>
          <p:cNvCxnSpPr/>
          <p:nvPr/>
        </p:nvCxnSpPr>
        <p:spPr>
          <a:xfrm flipH="1" flipV="1">
            <a:off x="5180013" y="3751263"/>
            <a:ext cx="1768251" cy="10408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62750" y="4479108"/>
            <a:ext cx="1219200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6831793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458968"/>
              </p:ext>
            </p:extLst>
          </p:nvPr>
        </p:nvGraphicFramePr>
        <p:xfrm>
          <a:off x="91440" y="571500"/>
          <a:ext cx="8944610" cy="5354149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124794"/>
                <a:gridCol w="2223296"/>
                <a:gridCol w="2439361"/>
              </a:tblGrid>
              <a:tr h="374637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8646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0437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employers in contravention of the Immigration Act (Act 13 of 2002) charged 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24/2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31/3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33/3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24/2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112/112 (100%)</a:t>
                      </a:r>
                      <a:endParaRPr lang="en-US" sz="11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employers in contravention of the Immigration Act (Act 13 of 2002) charged 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26/2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7127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027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446618"/>
              </p:ext>
            </p:extLst>
          </p:nvPr>
        </p:nvGraphicFramePr>
        <p:xfrm>
          <a:off x="91440" y="571500"/>
          <a:ext cx="8944610" cy="5354149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240274"/>
                <a:gridCol w="2107816"/>
                <a:gridCol w="2439361"/>
              </a:tblGrid>
              <a:tr h="374637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2792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0437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transgressors in contravention of the Immigration Act (Act 13 of 2002) charged 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700/70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605/605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383/38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398/39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2086/2086 (100%</a:t>
                      </a: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ZA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transgressors in contravention of the Immigration Act (Act 13 of 2002) charged 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392/39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149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931064"/>
              </p:ext>
            </p:extLst>
          </p:nvPr>
        </p:nvGraphicFramePr>
        <p:xfrm>
          <a:off x="91440" y="571500"/>
          <a:ext cx="8944610" cy="5354149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124794"/>
                <a:gridCol w="2223296"/>
                <a:gridCol w="2439361"/>
              </a:tblGrid>
              <a:tr h="374637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8646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0437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undocumented foreigners deported within 30 calendar days (Direct Deportations)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68/6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47/47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 6/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16/1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137/137 (100%)</a:t>
                      </a:r>
                      <a:endParaRPr lang="en-US" sz="11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undocumented foreigners deported within 30 calendar days (Direct Deportations)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2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40/4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843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2109462"/>
              </p:ext>
            </p:extLst>
          </p:nvPr>
        </p:nvGraphicFramePr>
        <p:xfrm>
          <a:off x="91440" y="571500"/>
          <a:ext cx="8944610" cy="5354149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240274"/>
                <a:gridCol w="2107816"/>
                <a:gridCol w="2439361"/>
              </a:tblGrid>
              <a:tr h="374637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8646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0437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undocumented foreigners transferred to Lindela within 20  calendar days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314/31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348/348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 84/84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95/95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841/841 (100%)</a:t>
                      </a:r>
                      <a:endParaRPr lang="en-US" sz="11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Detected undocumented foreigners transferred to Lindela within 20  calendar days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192/192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59401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22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45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400" b="1" dirty="0" smtClean="0">
                <a:latin typeface="Arial" pitchFamily="34" charset="0"/>
              </a:rPr>
              <a:t>OVERVIEW ANALYSIS</a:t>
            </a:r>
            <a:endParaRPr lang="en-ZA" altLang="en-US" sz="24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1467613"/>
              </p:ext>
            </p:extLst>
          </p:nvPr>
        </p:nvGraphicFramePr>
        <p:xfrm>
          <a:off x="91440" y="571500"/>
          <a:ext cx="8944610" cy="5354149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124794"/>
                <a:gridCol w="2223296"/>
                <a:gridCol w="2439361"/>
              </a:tblGrid>
              <a:tr h="374637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8646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8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8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04372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80% of Detected fraudulent marriages &amp; marriage of convenience cases finalised  </a:t>
                      </a:r>
                      <a:r>
                        <a:rPr lang="en-US" altLang="en-US" sz="1200" b="0" i="1" dirty="0" smtClean="0">
                          <a:latin typeface="Arial" pitchFamily="34" charset="0"/>
                          <a:cs typeface="Arial" pitchFamily="34" charset="0"/>
                        </a:rPr>
                        <a:t>(investigation and recommendation submitted) </a:t>
                      </a: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within 60 days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 8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8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8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 1/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8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3/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4/4 (100%)</a:t>
                      </a:r>
                      <a:endParaRPr lang="en-US" sz="11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80% of Detected fraudulent marriages &amp; marriage of convenience cases finalised  </a:t>
                      </a:r>
                      <a:r>
                        <a:rPr lang="en-US" altLang="en-US" sz="1200" b="0" i="1" dirty="0" smtClean="0">
                          <a:latin typeface="Arial" pitchFamily="34" charset="0"/>
                          <a:cs typeface="Arial" pitchFamily="34" charset="0"/>
                        </a:rPr>
                        <a:t>(investigation and recommendation submitted) </a:t>
                      </a: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within 60 days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80%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1/1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632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3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of Content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287924"/>
              </p:ext>
            </p:extLst>
          </p:nvPr>
        </p:nvGraphicFramePr>
        <p:xfrm>
          <a:off x="80010" y="697231"/>
          <a:ext cx="8961120" cy="5086052"/>
        </p:xfrm>
        <a:graphic>
          <a:graphicData uri="http://schemas.openxmlformats.org/drawingml/2006/table">
            <a:tbl>
              <a:tblPr/>
              <a:tblGrid>
                <a:gridCol w="7416855"/>
                <a:gridCol w="1544265"/>
              </a:tblGrid>
              <a:tr h="4050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ENT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LIDE NO.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27" marR="91427" marT="45704" marB="4570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</a:tr>
              <a:tr h="468097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00%  of detected employers charged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00% of detected transgressors of departmental legislation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00%  of  detected undocumented foreigners deported (direct deportations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00% of detected undocumented foreigners  transferred  to Lindela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80% of detected fraudulent marriages &amp; marriages of convenience cases finalised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100% of valid invoices settled within 30 days</a:t>
                      </a:r>
                    </a:p>
                  </a:txBody>
                  <a:tcPr marL="91427" marR="91427" marT="45704" marB="45704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5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6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7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8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29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30</a:t>
                      </a:r>
                    </a:p>
                  </a:txBody>
                  <a:tcPr marL="91427" marR="91427" marT="45704" marB="4570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790706" y="6335651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885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90000"/>
              </a:spcBef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10000"/>
              </a:spcBef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6" name="Content Placeholder 9"/>
          <p:cNvSpPr txBox="1">
            <a:spLocks/>
          </p:cNvSpPr>
          <p:nvPr/>
        </p:nvSpPr>
        <p:spPr bwMode="auto">
          <a:xfrm>
            <a:off x="182880" y="117522"/>
            <a:ext cx="8853170" cy="357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altLang="en-US" sz="2000" b="1" dirty="0" smtClean="0">
                <a:latin typeface="Arial" pitchFamily="34" charset="0"/>
              </a:rPr>
              <a:t>OVERVIEW ANALYSIS</a:t>
            </a:r>
            <a:endParaRPr lang="en-ZA" altLang="en-US" sz="2000" b="1" dirty="0" smtClean="0">
              <a:latin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551498"/>
              </p:ext>
            </p:extLst>
          </p:nvPr>
        </p:nvGraphicFramePr>
        <p:xfrm>
          <a:off x="91440" y="583375"/>
          <a:ext cx="9277149" cy="5436185"/>
        </p:xfrm>
        <a:graphic>
          <a:graphicData uri="http://schemas.openxmlformats.org/drawingml/2006/table">
            <a:tbl>
              <a:tblPr firstRow="1" bandRow="1"/>
              <a:tblGrid>
                <a:gridCol w="2157159"/>
                <a:gridCol w="2457333"/>
                <a:gridCol w="2223296"/>
                <a:gridCol w="2439361"/>
              </a:tblGrid>
              <a:tr h="389439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2000" dirty="0" smtClean="0"/>
                        <a:t>DHA APP PLAN TARGETS</a:t>
                      </a:r>
                      <a:endParaRPr lang="en-ZA" sz="2000" dirty="0"/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2000" dirty="0"/>
                    </a:p>
                  </a:txBody>
                  <a:tcPr/>
                </a:tc>
              </a:tr>
              <a:tr h="59007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6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(APRIL 2016– MAR</a:t>
                      </a:r>
                      <a:r>
                        <a:rPr lang="en-ZA" sz="1600" baseline="0" dirty="0" smtClean="0">
                          <a:latin typeface="Arial Narrow" panose="020B0606020202030204" pitchFamily="34" charset="0"/>
                        </a:rPr>
                        <a:t> 2017</a:t>
                      </a:r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en-ZA" sz="16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  <a:endParaRPr lang="en-ZA" sz="16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ANNUAL</a:t>
                      </a:r>
                      <a:r>
                        <a:rPr lang="en-ZA" sz="16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TARGET</a:t>
                      </a:r>
                    </a:p>
                    <a:p>
                      <a:pPr algn="ctr"/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(APRIL 2017– MAR</a:t>
                      </a:r>
                      <a:r>
                        <a:rPr lang="en-ZA" sz="1600" baseline="0" dirty="0" smtClean="0">
                          <a:latin typeface="Arial Narrow" panose="020B0606020202030204" pitchFamily="34" charset="0"/>
                        </a:rPr>
                        <a:t> 2018</a:t>
                      </a:r>
                      <a:endParaRPr lang="en-ZA" sz="16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 smtClean="0">
                          <a:latin typeface="Arial Narrow" panose="020B0606020202030204" pitchFamily="34" charset="0"/>
                        </a:rPr>
                        <a:t>PERFORMANCE STATUS</a:t>
                      </a:r>
                    </a:p>
                    <a:p>
                      <a:pPr algn="ctr"/>
                      <a:endParaRPr lang="en-ZA" sz="1600" dirty="0">
                        <a:latin typeface="Arial Narrow" panose="020B0606020202030204" pitchFamily="34" charset="0"/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437477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valid invoices settled within 30 days of certification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225/22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(1)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99,56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2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280/28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3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 = 325/325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= 100%</a:t>
                      </a:r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4 Target</a:t>
                      </a: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210/21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 0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                = 100%</a:t>
                      </a:r>
                      <a:endParaRPr lang="en-US" sz="1100" b="1" i="0" u="sng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verall Provincial Performanc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sng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= 1031/1032  (99,9%)</a:t>
                      </a:r>
                      <a:endParaRPr lang="en-ZA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B: Non performance in quarter</a:t>
                      </a:r>
                      <a:r>
                        <a:rPr lang="en-ZA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1 was due to BAS shutdown from 16 March 2016 and orders were generated at Head Office. Suppliers details changed without updating National Treasury. (Time delay of system interface between DHA &amp; NT)</a:t>
                      </a:r>
                      <a:endParaRPr lang="en-ZA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altLang="en-US" sz="1200" b="0" dirty="0" smtClean="0">
                          <a:latin typeface="Arial" pitchFamily="34" charset="0"/>
                          <a:cs typeface="Arial" pitchFamily="34" charset="0"/>
                        </a:rPr>
                        <a:t>100% of valid invoices settled within 30 days of certification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Q1Target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  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 Performance  =  239/239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iance                    = 0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sng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achieved                = 100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0" algn="l" eaLnBrk="1" hangingPunct="1">
                        <a:buFont typeface="Arial" pitchFamily="34" charset="0"/>
                        <a:buNone/>
                      </a:pPr>
                      <a:endParaRPr lang="en-US" sz="1400" b="1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45" marR="91445" marT="45667" marB="45667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33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02450" y="637127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637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9" y="114618"/>
            <a:ext cx="8903971" cy="492443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AFF PROFILE</a:t>
            </a:r>
          </a:p>
        </p:txBody>
      </p:sp>
      <p:graphicFrame>
        <p:nvGraphicFramePr>
          <p:cNvPr id="5" name="Group 6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595276"/>
              </p:ext>
            </p:extLst>
          </p:nvPr>
        </p:nvGraphicFramePr>
        <p:xfrm>
          <a:off x="114299" y="731519"/>
          <a:ext cx="8903971" cy="5136700"/>
        </p:xfrm>
        <a:graphic>
          <a:graphicData uri="http://schemas.openxmlformats.org/drawingml/2006/table">
            <a:tbl>
              <a:tblPr/>
              <a:tblGrid>
                <a:gridCol w="1519550"/>
                <a:gridCol w="1697320"/>
                <a:gridCol w="1533462"/>
                <a:gridCol w="1296949"/>
                <a:gridCol w="1479358"/>
                <a:gridCol w="1377332"/>
              </a:tblGrid>
              <a:tr h="33506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LEVEL 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FEMALE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DISABILITY </a:t>
                      </a:r>
                    </a:p>
                  </a:txBody>
                  <a:tcPr marL="45845" marR="45845" marT="0" marB="0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MALE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DISABILITY </a:t>
                      </a:r>
                    </a:p>
                  </a:txBody>
                  <a:tcPr marL="45845" marR="45845" marT="0" marB="0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TOTAL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5153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57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5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9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6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63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95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58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7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6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5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8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9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4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63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9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0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3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6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2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96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3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21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4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2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354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Total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287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96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5845" marR="45845" marT="0" marB="0" anchor="b" horzOverflow="overflow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457200" marR="0" lvl="1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Times New Roman" pitchFamily="18" charset="0"/>
                        </a:rPr>
                        <a:t>483</a:t>
                      </a:r>
                    </a:p>
                  </a:txBody>
                  <a:tcPr marL="45845" marR="45845" marT="0" marB="0" anchor="b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84670" y="637127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144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288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MPLOYMENT EQUITY 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8451488"/>
              </p:ext>
            </p:extLst>
          </p:nvPr>
        </p:nvGraphicFramePr>
        <p:xfrm>
          <a:off x="314695" y="997527"/>
          <a:ext cx="8615549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5630"/>
                <a:gridCol w="730317"/>
                <a:gridCol w="960944"/>
                <a:gridCol w="741299"/>
                <a:gridCol w="949962"/>
                <a:gridCol w="708353"/>
                <a:gridCol w="982909"/>
                <a:gridCol w="772333"/>
                <a:gridCol w="918929"/>
                <a:gridCol w="1004873"/>
              </a:tblGrid>
              <a:tr h="280189">
                <a:tc rowSpan="2">
                  <a:txBody>
                    <a:bodyPr/>
                    <a:lstStyle/>
                    <a:p>
                      <a:r>
                        <a:rPr lang="en-US" dirty="0" smtClean="0"/>
                        <a:t>SLARY LEVEL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AFRICAN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COLOURED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INDIAN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WHITE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OTAL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AL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MAL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57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19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5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258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0" dirty="0" smtClean="0"/>
                        <a:t>23</a:t>
                      </a:r>
                      <a:endParaRPr lang="en-US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51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3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5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1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20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2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1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</a:tr>
              <a:tr h="280189">
                <a:tc>
                  <a:txBody>
                    <a:bodyPr/>
                    <a:lstStyle/>
                    <a:p>
                      <a:r>
                        <a:rPr lang="en-US" dirty="0" smtClean="0"/>
                        <a:t>TOT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8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6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1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483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22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7"/>
          <p:cNvSpPr>
            <a:spLocks noGrp="1" noChangeArrowheads="1"/>
          </p:cNvSpPr>
          <p:nvPr>
            <p:ph type="title"/>
          </p:nvPr>
        </p:nvSpPr>
        <p:spPr bwMode="auto">
          <a:xfrm>
            <a:off x="107951" y="46157"/>
            <a:ext cx="8910318" cy="738664"/>
          </a:xfrm>
          <a:prstGeom prst="rect">
            <a:avLst/>
          </a:prstGeom>
          <a:solidFill>
            <a:srgbClr val="00FF0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en-ZA" sz="2400" b="1" dirty="0">
                <a:latin typeface="Calibri" pitchFamily="34" charset="0"/>
              </a:rPr>
              <a:t>PROVINCIAL CAPACITY – FILLED AND UNFILLED POSTS </a:t>
            </a:r>
          </a:p>
          <a:p>
            <a:pPr eaLnBrk="0" hangingPunct="0"/>
            <a:endParaRPr lang="en-GB" sz="2400" b="1" dirty="0">
              <a:latin typeface="Calibri" pitchFamily="34" charset="0"/>
            </a:endParaRPr>
          </a:p>
        </p:txBody>
      </p:sp>
      <p:graphicFrame>
        <p:nvGraphicFramePr>
          <p:cNvPr id="5" name="Group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9353674"/>
              </p:ext>
            </p:extLst>
          </p:nvPr>
        </p:nvGraphicFramePr>
        <p:xfrm>
          <a:off x="107950" y="981076"/>
          <a:ext cx="8910319" cy="1603718"/>
        </p:xfrm>
        <a:graphic>
          <a:graphicData uri="http://schemas.openxmlformats.org/drawingml/2006/table">
            <a:tbl>
              <a:tblPr/>
              <a:tblGrid>
                <a:gridCol w="3777337"/>
                <a:gridCol w="2777039"/>
                <a:gridCol w="2355943"/>
              </a:tblGrid>
              <a:tr h="4129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otal Establishment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illed as at 30 June 2017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Vacant </a:t>
                      </a: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unded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546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98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83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5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55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Capacity Rate: 97%</a:t>
                      </a: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Vacancy Rate: 3%</a:t>
                      </a:r>
                    </a:p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107950" y="2665730"/>
            <a:ext cx="8910319" cy="830997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>
            <a:prstShdw prst="shdw17" dist="17961" dir="2700000">
              <a:sysClr val="windowText" lastClr="000000">
                <a:gamma/>
                <a:shade val="60000"/>
                <a:invGamma/>
              </a:sysClr>
            </a:prstShdw>
          </a:effectLst>
        </p:spPr>
        <p:txBody>
          <a:bodyPr wrap="square">
            <a:spAutoFit/>
          </a:bodyPr>
          <a:lstStyle/>
          <a:p>
            <a:pPr marL="452438" marR="0" lvl="0" indent="-1873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600" b="1" u="sng" kern="0" dirty="0" smtClean="0">
                <a:solidFill>
                  <a:sysClr val="windowText" lastClr="000000"/>
                </a:solidFill>
                <a:cs typeface="Arial" charset="0"/>
              </a:rPr>
              <a:t>Recruitment and Selection</a:t>
            </a:r>
            <a:r>
              <a:rPr lang="en-ZA" sz="1600" kern="0" dirty="0" smtClean="0">
                <a:solidFill>
                  <a:sysClr val="windowText" lastClr="000000"/>
                </a:solidFill>
                <a:cs typeface="Arial" charset="0"/>
              </a:rPr>
              <a:t>: The process was suspended  from February 2016 to 31 March 2017. Posts  </a:t>
            </a:r>
          </a:p>
          <a:p>
            <a:pPr marL="452438" marR="0" lvl="0" indent="-1873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6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ZA" sz="1600" kern="0" dirty="0" smtClean="0">
                <a:solidFill>
                  <a:sysClr val="windowText" lastClr="000000"/>
                </a:solidFill>
                <a:cs typeface="Arial" charset="0"/>
              </a:rPr>
              <a:t>                                                  were reprioritised and funded from 1</a:t>
            </a:r>
            <a:r>
              <a:rPr lang="en-ZA" sz="1600" kern="0" baseline="30000" dirty="0" smtClean="0">
                <a:solidFill>
                  <a:sysClr val="windowText" lastClr="000000"/>
                </a:solidFill>
                <a:cs typeface="Arial" charset="0"/>
              </a:rPr>
              <a:t>st</a:t>
            </a:r>
            <a:r>
              <a:rPr lang="en-ZA" sz="1600" kern="0" dirty="0" smtClean="0">
                <a:solidFill>
                  <a:sysClr val="windowText" lastClr="000000"/>
                </a:solidFill>
                <a:cs typeface="Arial" charset="0"/>
              </a:rPr>
              <a:t> April 2017 </a:t>
            </a:r>
            <a:endParaRPr kumimoji="0" lang="en-ZA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charset="0"/>
            </a:endParaRPr>
          </a:p>
          <a:p>
            <a:pPr marL="452438" marR="0" lvl="0" indent="-1873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918075"/>
              </p:ext>
            </p:extLst>
          </p:nvPr>
        </p:nvGraphicFramePr>
        <p:xfrm>
          <a:off x="107950" y="3498932"/>
          <a:ext cx="8910318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053"/>
                <a:gridCol w="1485053"/>
                <a:gridCol w="1485053"/>
                <a:gridCol w="1485053"/>
                <a:gridCol w="1485053"/>
                <a:gridCol w="1485053"/>
              </a:tblGrid>
              <a:tr h="616870">
                <a:tc>
                  <a:txBody>
                    <a:bodyPr/>
                    <a:lstStyle/>
                    <a:p>
                      <a:r>
                        <a:rPr lang="en-ZA" dirty="0" smtClean="0"/>
                        <a:t>Post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Advertis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Shortlist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Interview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Offer letter</a:t>
                      </a:r>
                      <a:r>
                        <a:rPr lang="en-ZA" baseline="0" dirty="0" smtClean="0"/>
                        <a:t> issued (Y/N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offer letter issued</a:t>
                      </a:r>
                      <a:endParaRPr lang="en-ZA" dirty="0"/>
                    </a:p>
                  </a:txBody>
                  <a:tcPr/>
                </a:tc>
              </a:tr>
              <a:tr h="881242">
                <a:tc>
                  <a:txBody>
                    <a:bodyPr/>
                    <a:lstStyle/>
                    <a:p>
                      <a:r>
                        <a:rPr lang="en-ZA" dirty="0" smtClean="0"/>
                        <a:t>Provincial</a:t>
                      </a:r>
                      <a:r>
                        <a:rPr lang="en-ZA" baseline="0" dirty="0" smtClean="0"/>
                        <a:t> Manager</a:t>
                      </a:r>
                    </a:p>
                    <a:p>
                      <a:r>
                        <a:rPr lang="en-ZA" baseline="0" dirty="0" smtClean="0"/>
                        <a:t>(PM : NW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20/2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HEAD</a:t>
                      </a:r>
                      <a:r>
                        <a:rPr lang="en-ZA" baseline="0" dirty="0" smtClean="0"/>
                        <a:t> OFFIC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HEAD OFFIC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No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Post done by Head Office (SMS)</a:t>
                      </a:r>
                      <a:endParaRPr lang="en-ZA" dirty="0"/>
                    </a:p>
                  </a:txBody>
                  <a:tcPr/>
                </a:tc>
              </a:tr>
              <a:tr h="881242">
                <a:tc>
                  <a:txBody>
                    <a:bodyPr/>
                    <a:lstStyle/>
                    <a:p>
                      <a:r>
                        <a:rPr lang="en-ZA" dirty="0" smtClean="0"/>
                        <a:t>Personnel Practitioner (PM:</a:t>
                      </a:r>
                      <a:r>
                        <a:rPr lang="en-ZA" baseline="0" dirty="0" smtClean="0"/>
                        <a:t> NW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3/3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3/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1/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YE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7/5/2017</a:t>
                      </a:r>
                      <a:endParaRPr lang="en-ZA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84668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8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107948" y="180026"/>
            <a:ext cx="8910319" cy="769441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>
            <a:prstShdw prst="shdw17" dist="17961" dir="2700000">
              <a:sysClr val="windowText" lastClr="000000">
                <a:gamma/>
                <a:shade val="60000"/>
                <a:invGamma/>
              </a:sysClr>
            </a:prstShdw>
          </a:effectLst>
        </p:spPr>
        <p:txBody>
          <a:bodyPr wrap="square">
            <a:spAutoFit/>
          </a:bodyPr>
          <a:lstStyle/>
          <a:p>
            <a:pPr marL="452438" indent="-187325" defTabSz="914400">
              <a:defRPr/>
            </a:pPr>
            <a:r>
              <a:rPr lang="en-ZA" sz="2800" kern="0" dirty="0" smtClean="0">
                <a:solidFill>
                  <a:sysClr val="windowText" lastClr="000000"/>
                </a:solidFill>
                <a:cs typeface="Arial" charset="0"/>
              </a:rPr>
              <a:t>Recruitment and Selection</a:t>
            </a:r>
          </a:p>
          <a:p>
            <a:pPr marL="452438" indent="-187325" defTabSz="914400">
              <a:defRPr/>
            </a:pPr>
            <a:endParaRPr lang="en-ZA" sz="16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6723115"/>
              </p:ext>
            </p:extLst>
          </p:nvPr>
        </p:nvGraphicFramePr>
        <p:xfrm>
          <a:off x="107950" y="1147618"/>
          <a:ext cx="8910318" cy="4840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3972"/>
                <a:gridCol w="1356134"/>
                <a:gridCol w="1485053"/>
                <a:gridCol w="1485053"/>
                <a:gridCol w="1485053"/>
                <a:gridCol w="1485053"/>
              </a:tblGrid>
              <a:tr h="629970">
                <a:tc>
                  <a:txBody>
                    <a:bodyPr/>
                    <a:lstStyle/>
                    <a:p>
                      <a:r>
                        <a:rPr lang="en-ZA" dirty="0" smtClean="0"/>
                        <a:t>Post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Advertis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Shortlist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Interview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Offer letter</a:t>
                      </a:r>
                      <a:r>
                        <a:rPr lang="en-ZA" baseline="0" dirty="0" smtClean="0"/>
                        <a:t> issued (Y/N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offer letter issued</a:t>
                      </a:r>
                      <a:endParaRPr lang="en-ZA" dirty="0"/>
                    </a:p>
                  </a:txBody>
                  <a:tcPr/>
                </a:tc>
              </a:tr>
              <a:tr h="629970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Cleaner (PM:NW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9/7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To be don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To be don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 yet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 yet done</a:t>
                      </a:r>
                      <a:endParaRPr lang="en-ZA" sz="1600" dirty="0"/>
                    </a:p>
                  </a:txBody>
                  <a:tcPr/>
                </a:tc>
              </a:tr>
              <a:tr h="1024433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ASD :</a:t>
                      </a:r>
                      <a:r>
                        <a:rPr lang="en-ZA" sz="1600" baseline="0" dirty="0" smtClean="0"/>
                        <a:t> DITO (Dr Ruth Segomotsi Mompati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Done by HQ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Done by HQ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Done by HQ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Done by HQ</a:t>
                      </a:r>
                      <a:endParaRPr lang="en-ZA" sz="1600" dirty="0"/>
                    </a:p>
                  </a:txBody>
                  <a:tcPr/>
                </a:tc>
              </a:tr>
              <a:tr h="807194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Immigration Officer (LO Mmabatho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3/03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1/0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2/05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Y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1/06/2017</a:t>
                      </a:r>
                      <a:endParaRPr lang="en-ZA" sz="1600" dirty="0"/>
                    </a:p>
                  </a:txBody>
                  <a:tcPr/>
                </a:tc>
              </a:tr>
              <a:tr h="774770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Administration Clerk (LO Mmabatho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9/05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8/06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4/07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</a:t>
                      </a:r>
                      <a:r>
                        <a:rPr lang="en-ZA" sz="1600" baseline="0" dirty="0" smtClean="0"/>
                        <a:t> yet don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 yet done</a:t>
                      </a:r>
                      <a:endParaRPr lang="en-ZA" sz="1600" dirty="0"/>
                    </a:p>
                  </a:txBody>
                  <a:tcPr/>
                </a:tc>
              </a:tr>
              <a:tr h="899957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Administration Clerk (LO Mmabatho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9/05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8/06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4/07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</a:t>
                      </a:r>
                      <a:r>
                        <a:rPr lang="en-ZA" sz="1600" baseline="0" dirty="0" smtClean="0"/>
                        <a:t> yet don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 yet done</a:t>
                      </a:r>
                      <a:endParaRPr lang="en-ZA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884668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864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107948" y="180026"/>
            <a:ext cx="8910319" cy="769441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>
            <a:prstShdw prst="shdw17" dist="17961" dir="2700000">
              <a:sysClr val="windowText" lastClr="000000">
                <a:gamma/>
                <a:shade val="60000"/>
                <a:invGamma/>
              </a:sysClr>
            </a:prstShdw>
          </a:effectLst>
        </p:spPr>
        <p:txBody>
          <a:bodyPr wrap="square">
            <a:spAutoFit/>
          </a:bodyPr>
          <a:lstStyle/>
          <a:p>
            <a:pPr marL="452438" indent="-187325" defTabSz="914400">
              <a:defRPr/>
            </a:pPr>
            <a:r>
              <a:rPr lang="en-ZA" sz="2800" kern="0" dirty="0" smtClean="0">
                <a:solidFill>
                  <a:sysClr val="windowText" lastClr="000000"/>
                </a:solidFill>
                <a:cs typeface="Arial" charset="0"/>
              </a:rPr>
              <a:t>Recruitment and Selection</a:t>
            </a:r>
          </a:p>
          <a:p>
            <a:pPr marL="452438" indent="-187325" defTabSz="914400">
              <a:defRPr/>
            </a:pPr>
            <a:endParaRPr lang="en-ZA" sz="16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672091"/>
              </p:ext>
            </p:extLst>
          </p:nvPr>
        </p:nvGraphicFramePr>
        <p:xfrm>
          <a:off x="107950" y="1147618"/>
          <a:ext cx="8910318" cy="47347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6471"/>
                <a:gridCol w="1403635"/>
                <a:gridCol w="1485053"/>
                <a:gridCol w="1485053"/>
                <a:gridCol w="1485053"/>
                <a:gridCol w="1485053"/>
              </a:tblGrid>
              <a:tr h="562000">
                <a:tc>
                  <a:txBody>
                    <a:bodyPr/>
                    <a:lstStyle/>
                    <a:p>
                      <a:r>
                        <a:rPr lang="en-ZA" dirty="0" smtClean="0"/>
                        <a:t>Post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Advertis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Shortlist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Interview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Offer letter</a:t>
                      </a:r>
                      <a:r>
                        <a:rPr lang="en-ZA" baseline="0" dirty="0" smtClean="0"/>
                        <a:t> issued (Y/N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offer letter issued</a:t>
                      </a:r>
                      <a:endParaRPr lang="en-ZA" dirty="0"/>
                    </a:p>
                  </a:txBody>
                  <a:tcPr/>
                </a:tc>
              </a:tr>
              <a:tr h="1043715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Chief Administration Clerk (SO Khunwana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3/3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1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6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Y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5/6/2017</a:t>
                      </a:r>
                      <a:endParaRPr lang="en-ZA" sz="1600" dirty="0"/>
                    </a:p>
                  </a:txBody>
                  <a:tcPr/>
                </a:tc>
              </a:tr>
              <a:tr h="802858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Local Office Manager : Ganyesa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3/3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4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0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Y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5/5/2017</a:t>
                      </a:r>
                      <a:endParaRPr lang="en-ZA" sz="1600" dirty="0"/>
                    </a:p>
                  </a:txBody>
                  <a:tcPr/>
                </a:tc>
              </a:tr>
              <a:tr h="802858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Local Office Manager : Taung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9/5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7/6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0/6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Y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6/7/2017</a:t>
                      </a:r>
                      <a:endParaRPr lang="en-ZA" sz="1600" dirty="0"/>
                    </a:p>
                  </a:txBody>
                  <a:tcPr/>
                </a:tc>
              </a:tr>
              <a:tr h="802858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Local Office Manager :</a:t>
                      </a:r>
                      <a:r>
                        <a:rPr lang="en-ZA" sz="1600" baseline="0" dirty="0" smtClean="0"/>
                        <a:t> Mankwe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3/3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4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0/4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Y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15/5/2017</a:t>
                      </a:r>
                      <a:endParaRPr lang="en-ZA" sz="1600" dirty="0"/>
                    </a:p>
                  </a:txBody>
                  <a:tcPr/>
                </a:tc>
              </a:tr>
              <a:tr h="562000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Cleaner : Mafikeng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9/05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23/06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03/07/2017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Not yet done</a:t>
                      </a:r>
                      <a:endParaRPr lang="en-ZA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884667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56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107948" y="180026"/>
            <a:ext cx="8910319" cy="769441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>
            <a:prstShdw prst="shdw17" dist="17961" dir="2700000">
              <a:sysClr val="windowText" lastClr="000000">
                <a:gamma/>
                <a:shade val="60000"/>
                <a:invGamma/>
              </a:sysClr>
            </a:prstShdw>
          </a:effectLst>
        </p:spPr>
        <p:txBody>
          <a:bodyPr wrap="square">
            <a:spAutoFit/>
          </a:bodyPr>
          <a:lstStyle/>
          <a:p>
            <a:pPr marL="452438" indent="-187325" defTabSz="914400">
              <a:defRPr/>
            </a:pPr>
            <a:r>
              <a:rPr lang="en-ZA" sz="2800" kern="0" dirty="0" smtClean="0">
                <a:solidFill>
                  <a:sysClr val="windowText" lastClr="000000"/>
                </a:solidFill>
                <a:cs typeface="Arial" charset="0"/>
              </a:rPr>
              <a:t>Recruitment and Selection</a:t>
            </a:r>
          </a:p>
          <a:p>
            <a:pPr marL="452438" indent="-187325" defTabSz="914400">
              <a:defRPr/>
            </a:pPr>
            <a:endParaRPr lang="en-ZA" sz="16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896379"/>
              </p:ext>
            </p:extLst>
          </p:nvPr>
        </p:nvGraphicFramePr>
        <p:xfrm>
          <a:off x="107950" y="1147618"/>
          <a:ext cx="8910318" cy="46831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1473"/>
                <a:gridCol w="1308633"/>
                <a:gridCol w="1485053"/>
                <a:gridCol w="1485053"/>
                <a:gridCol w="1485053"/>
                <a:gridCol w="1485053"/>
              </a:tblGrid>
              <a:tr h="886004">
                <a:tc>
                  <a:txBody>
                    <a:bodyPr/>
                    <a:lstStyle/>
                    <a:p>
                      <a:r>
                        <a:rPr lang="en-ZA" dirty="0" smtClean="0"/>
                        <a:t>Post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Advertis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Shortliste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Interview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Offer letter</a:t>
                      </a:r>
                      <a:r>
                        <a:rPr lang="en-ZA" baseline="0" dirty="0" smtClean="0"/>
                        <a:t> issued (Y/N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ate offer letter issued</a:t>
                      </a:r>
                      <a:endParaRPr lang="en-ZA" dirty="0"/>
                    </a:p>
                  </a:txBody>
                  <a:tcPr/>
                </a:tc>
              </a:tr>
              <a:tr h="1265721">
                <a:tc>
                  <a:txBody>
                    <a:bodyPr/>
                    <a:lstStyle/>
                    <a:p>
                      <a:r>
                        <a:rPr lang="en-ZA" dirty="0" smtClean="0"/>
                        <a:t>Admin</a:t>
                      </a:r>
                      <a:r>
                        <a:rPr lang="en-ZA" baseline="0" dirty="0" smtClean="0"/>
                        <a:t> Clerk : MO Wolmaransstad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3/03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6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1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YE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22/05/2017</a:t>
                      </a:r>
                      <a:endParaRPr lang="en-ZA" dirty="0"/>
                    </a:p>
                  </a:txBody>
                  <a:tcPr/>
                </a:tc>
              </a:tr>
              <a:tr h="1265721">
                <a:tc>
                  <a:txBody>
                    <a:bodyPr/>
                    <a:lstStyle/>
                    <a:p>
                      <a:r>
                        <a:rPr lang="en-ZA" dirty="0" smtClean="0"/>
                        <a:t>Civic</a:t>
                      </a:r>
                      <a:r>
                        <a:rPr lang="en-ZA" baseline="0" dirty="0" smtClean="0"/>
                        <a:t> Service Supervisor : MO Mankw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3/03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3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7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YE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5/06/2017</a:t>
                      </a:r>
                      <a:endParaRPr lang="en-ZA" dirty="0"/>
                    </a:p>
                  </a:txBody>
                  <a:tcPr/>
                </a:tc>
              </a:tr>
              <a:tr h="1265721">
                <a:tc>
                  <a:txBody>
                    <a:bodyPr/>
                    <a:lstStyle/>
                    <a:p>
                      <a:r>
                        <a:rPr lang="en-ZA" dirty="0" smtClean="0"/>
                        <a:t>Civic Service Supervisor : MO Mankw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3/03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3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07/04/2017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YE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15/06/2017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884667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286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103188" y="114300"/>
            <a:ext cx="8915400" cy="434975"/>
          </a:xfrm>
          <a:solidFill>
            <a:srgbClr val="00FF00"/>
          </a:solidFill>
        </p:spPr>
        <p:txBody>
          <a:bodyPr rtlCol="0">
            <a:normAutofit fontScale="90000"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600" b="1" kern="0" dirty="0" smtClean="0">
                <a:solidFill>
                  <a:sysClr val="windowText" lastClr="000000"/>
                </a:solidFill>
              </a:rPr>
              <a:t>LABOUR RELATIONS CASES</a:t>
            </a:r>
          </a:p>
        </p:txBody>
      </p:sp>
      <p:graphicFrame>
        <p:nvGraphicFramePr>
          <p:cNvPr id="5" name="Group 4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99620047"/>
              </p:ext>
            </p:extLst>
          </p:nvPr>
        </p:nvGraphicFramePr>
        <p:xfrm>
          <a:off x="103188" y="723901"/>
          <a:ext cx="8915400" cy="5130635"/>
        </p:xfrm>
        <a:graphic>
          <a:graphicData uri="http://schemas.openxmlformats.org/drawingml/2006/table">
            <a:tbl>
              <a:tblPr/>
              <a:tblGrid>
                <a:gridCol w="2772133"/>
                <a:gridCol w="2668428"/>
                <a:gridCol w="3474839"/>
              </a:tblGrid>
              <a:tr h="10625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ZA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KEY AREA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ZA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NUMBER OF CASES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OUTCOMES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</a:tr>
              <a:tr h="118776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raud &amp; Corruption</a:t>
                      </a: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 cases: false birth registration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 cases: fraud </a:t>
                      </a:r>
                      <a:r>
                        <a:rPr kumimoji="0" lang="en-GB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birth registration</a:t>
                      </a: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/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 cases: aiding and abetting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fraud marriage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cases: fraud ID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misuse of state vehicle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ases referred to Employee Engagement and Civic Services for cancelation of identity numbers. Awaiting outcomes of disciplinary hearings.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/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endParaRPr kumimoji="0" lang="en-GB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7014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mproper Conduc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 cases: failure to submit monthly compliance checklist.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malicious language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insubordination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harassment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failure to hand over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case: unacceptable conduct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ised 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/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ised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ending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ised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ised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ised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792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ANCTIONS</a:t>
                      </a: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27583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smissals</a:t>
                      </a: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21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uspension </a:t>
                      </a: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month suspension without pay : May 2017 : corruption)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21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Warnings</a:t>
                      </a:r>
                    </a:p>
                  </a:txBody>
                  <a:tcPr marT="45679" marB="45679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 written warnings</a:t>
                      </a:r>
                      <a:b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 final written warnings</a:t>
                      </a:r>
                    </a:p>
                  </a:txBody>
                  <a:tcPr marT="45679" marB="45679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84988" y="6356350"/>
            <a:ext cx="2133600" cy="365125"/>
          </a:xfrm>
        </p:spPr>
        <p:txBody>
          <a:bodyPr/>
          <a:lstStyle/>
          <a:p>
            <a:pPr>
              <a:defRPr/>
            </a:pPr>
            <a:fld id="{06CC3740-242E-4A66-97BE-3C84367B7E3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16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7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1785"/>
            <a:ext cx="8412480" cy="553998"/>
          </a:xfrm>
          <a:prstGeom prst="rect">
            <a:avLst/>
          </a:prstGeom>
          <a:solidFill>
            <a:srgbClr val="00FF0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ZA" sz="4000" b="1" dirty="0">
                <a:latin typeface="Calibri" pitchFamily="34" charset="0"/>
              </a:rPr>
              <a:t>STAFF DEVELOPMENT</a:t>
            </a:r>
            <a:endParaRPr lang="en-ZA" sz="4000" b="1" dirty="0">
              <a:solidFill>
                <a:srgbClr val="FF0000"/>
              </a:solidFill>
              <a:latin typeface="Calibri" pitchFamily="34" charset="0"/>
            </a:endParaRPr>
          </a:p>
        </p:txBody>
      </p:sp>
      <p:graphicFrame>
        <p:nvGraphicFramePr>
          <p:cNvPr id="5" name="Group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5371"/>
              </p:ext>
            </p:extLst>
          </p:nvPr>
        </p:nvGraphicFramePr>
        <p:xfrm>
          <a:off x="114299" y="925514"/>
          <a:ext cx="8940635" cy="4975154"/>
        </p:xfrm>
        <a:graphic>
          <a:graphicData uri="http://schemas.openxmlformats.org/drawingml/2006/table">
            <a:tbl>
              <a:tblPr/>
              <a:tblGrid>
                <a:gridCol w="5217722"/>
                <a:gridCol w="3722913"/>
              </a:tblGrid>
              <a:tr h="20543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raining conducted during Quarter 1 of 2017/18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officials enrolled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68958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ersonnel Administration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126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ntorship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689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iversity management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3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130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TAL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8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21335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62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95001" y="114618"/>
            <a:ext cx="8918367" cy="422592"/>
          </a:xfrm>
          <a:prstGeom prst="rect">
            <a:avLst/>
          </a:prstGeom>
          <a:solidFill>
            <a:srgbClr val="00FF00"/>
          </a:solidFill>
        </p:spPr>
        <p:txBody>
          <a:bodyPr>
            <a:normAutofit fontScale="90000"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UMMARY OF BUDG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7977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9</a:t>
            </a:fld>
            <a:endParaRPr 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313470"/>
              </p:ext>
            </p:extLst>
          </p:nvPr>
        </p:nvGraphicFramePr>
        <p:xfrm>
          <a:off x="95001" y="700644"/>
          <a:ext cx="8918368" cy="5213268"/>
        </p:xfrm>
        <a:graphic>
          <a:graphicData uri="http://schemas.openxmlformats.org/drawingml/2006/table">
            <a:tbl>
              <a:tblPr/>
              <a:tblGrid>
                <a:gridCol w="1749537"/>
                <a:gridCol w="1536178"/>
                <a:gridCol w="1152134"/>
                <a:gridCol w="1635745"/>
                <a:gridCol w="867656"/>
                <a:gridCol w="839208"/>
                <a:gridCol w="1137910"/>
              </a:tblGrid>
              <a:tr h="447292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sv-SE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7/18 FY (Q1; April 2017 till June 2017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1F9B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2441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UDG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PENDITU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AILABL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DEAL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ORTAGE / SURPL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</a:tr>
              <a:tr h="53983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UDGET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% VARIANCE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ABC"/>
                    </a:solidFill>
                  </a:tcPr>
                </a:tc>
              </a:tr>
              <a:tr h="508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ensation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150 708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37 815 015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112 892 985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.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508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oods and Service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9 698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1 779 235.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7 978 764.0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.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5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chinery &amp; Equipment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2 599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65 125.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2 533 874.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2.4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5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vincial and local Government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112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24 312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      87 688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.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3.2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08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ouseholds. 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145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437 698.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    (292 698.96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1.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6.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508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 G&amp;S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12 554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2 306 372.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         10 307 627.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6.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5552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verall Performance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163 262 000.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40 121 387.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           123 200 612.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.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7D05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0.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AD67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58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3198"/>
            <a:ext cx="8229600" cy="37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ble of Contents Continue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0036840"/>
              </p:ext>
            </p:extLst>
          </p:nvPr>
        </p:nvGraphicFramePr>
        <p:xfrm>
          <a:off x="102870" y="697231"/>
          <a:ext cx="8949690" cy="5169179"/>
        </p:xfrm>
        <a:graphic>
          <a:graphicData uri="http://schemas.openxmlformats.org/drawingml/2006/table">
            <a:tbl>
              <a:tblPr/>
              <a:tblGrid>
                <a:gridCol w="7152953"/>
                <a:gridCol w="1796737"/>
              </a:tblGrid>
              <a:tr h="35365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NTENT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46" marR="91446" marT="45688" marB="45688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LIDE NO.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46" marR="91446" marT="45688" marB="456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FF99"/>
                    </a:solidFill>
                  </a:tcPr>
                </a:tc>
              </a:tr>
              <a:tr h="358554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r>
                        <a:rPr lang="en-US" sz="1600" b="1" dirty="0" smtClean="0"/>
                        <a:t>Finance and Support Services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dirty="0" smtClean="0"/>
                        <a:t>Staff</a:t>
                      </a:r>
                      <a:r>
                        <a:rPr lang="en-US" sz="1600" b="0" baseline="0" dirty="0" smtClean="0"/>
                        <a:t> Profile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Employment Equity </a:t>
                      </a:r>
                      <a:endParaRPr lang="en-US" sz="1600" b="0" dirty="0" smtClean="0"/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dirty="0" smtClean="0"/>
                        <a:t>Provincial</a:t>
                      </a:r>
                      <a:r>
                        <a:rPr lang="en-US" sz="1600" b="0" baseline="0" dirty="0" smtClean="0"/>
                        <a:t> Capacity and Recruitment &amp; Selection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Labour Relations Cases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Staff Development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Budget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Revenue Collected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Fleet Management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Asset Management</a:t>
                      </a:r>
                    </a:p>
                    <a:p>
                      <a:pPr marL="0" indent="0">
                        <a:buClr>
                          <a:schemeClr val="bg2"/>
                        </a:buClr>
                        <a:buFontTx/>
                        <a:buNone/>
                      </a:pPr>
                      <a:r>
                        <a:rPr lang="en-US" sz="1600" b="0" baseline="0" dirty="0" smtClean="0"/>
                        <a:t>Stakeholder Management</a:t>
                      </a:r>
                    </a:p>
                  </a:txBody>
                  <a:tcPr marL="91446" marR="91446" marT="45688" marB="45688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          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31                             32                                33-36                               37                                           38                                    39                                 40                                   41                                     42                              43 - 44</a:t>
                      </a:r>
                    </a:p>
                  </a:txBody>
                  <a:tcPr marL="91446" marR="91446" marT="45688" marB="456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299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chievemen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hallenges</a:t>
                      </a:r>
                    </a:p>
                  </a:txBody>
                  <a:tcPr marL="91446" marR="91446" marT="45688" marB="45688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45                              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46</a:t>
                      </a:r>
                    </a:p>
                  </a:txBody>
                  <a:tcPr marL="91446" marR="91446" marT="45688" marB="456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18960" y="637127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64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35330" y="155885"/>
            <a:ext cx="7736774" cy="568510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VENUE COLLECTED</a:t>
            </a:r>
          </a:p>
        </p:txBody>
      </p:sp>
      <p:graphicFrame>
        <p:nvGraphicFramePr>
          <p:cNvPr id="5" name="Group 3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632065"/>
              </p:ext>
            </p:extLst>
          </p:nvPr>
        </p:nvGraphicFramePr>
        <p:xfrm>
          <a:off x="83127" y="1045028"/>
          <a:ext cx="8977746" cy="3895655"/>
        </p:xfrm>
        <a:graphic>
          <a:graphicData uri="http://schemas.openxmlformats.org/drawingml/2006/table">
            <a:tbl>
              <a:tblPr/>
              <a:tblGrid>
                <a:gridCol w="3728852"/>
                <a:gridCol w="2743200"/>
                <a:gridCol w="2505694"/>
              </a:tblGrid>
              <a:tr h="6252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ISTRICT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evenue Collected during financial year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016/17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evenue Collected during Q1 of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017/18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5779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ojanala Platinum District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19 187,170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3 992,200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79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r Kenneth Kaunda District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10 932,010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2 469,014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79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r Ruth Segomotsi Mompati District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  2 922,460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  763,985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79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gaka Modiri Molema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11 608,067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2 853,485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79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tal Revenue Collected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44 649,707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10 078,684.00</a:t>
                      </a:r>
                    </a:p>
                  </a:txBody>
                  <a:tcPr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27273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173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5"/>
          <p:cNvSpPr>
            <a:spLocks noGrp="1" noChangeArrowheads="1"/>
          </p:cNvSpPr>
          <p:nvPr>
            <p:ph type="title"/>
          </p:nvPr>
        </p:nvSpPr>
        <p:spPr>
          <a:xfrm>
            <a:off x="114300" y="136138"/>
            <a:ext cx="8881110" cy="276999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EET MANAGEMENT</a:t>
            </a:r>
            <a:r>
              <a: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  <p:graphicFrame>
        <p:nvGraphicFramePr>
          <p:cNvPr id="5" name="Group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936792"/>
              </p:ext>
            </p:extLst>
          </p:nvPr>
        </p:nvGraphicFramePr>
        <p:xfrm>
          <a:off x="114300" y="697230"/>
          <a:ext cx="8881110" cy="5109210"/>
        </p:xfrm>
        <a:graphic>
          <a:graphicData uri="http://schemas.openxmlformats.org/drawingml/2006/table">
            <a:tbl>
              <a:tblPr/>
              <a:tblGrid>
                <a:gridCol w="3374822"/>
                <a:gridCol w="2553319"/>
                <a:gridCol w="2952969"/>
              </a:tblGrid>
              <a:tr h="60340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KEY AREA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NUMBER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PERCENTAGE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</a:tr>
              <a:tr h="45524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Vehicles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54392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vehicles in the Province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80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864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ew vehicles received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0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105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Functional vehicles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72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90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662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vehicles involved in accidents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342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obile offices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47867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mobile offices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00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411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dysfunctional mobile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72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411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umber of Functional mobiles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8%</a:t>
                      </a:r>
                    </a:p>
                  </a:txBody>
                  <a:tcPr marT="45736" marB="45736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6181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98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6181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2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127" y="37132"/>
            <a:ext cx="8912283" cy="492443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SET MANAGEMENT</a:t>
            </a:r>
            <a:r>
              <a:rPr kumimoji="0" lang="en-ZA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  <p:graphicFrame>
        <p:nvGraphicFramePr>
          <p:cNvPr id="7" name="Group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660633"/>
              </p:ext>
            </p:extLst>
          </p:nvPr>
        </p:nvGraphicFramePr>
        <p:xfrm>
          <a:off x="88916" y="665018"/>
          <a:ext cx="8906494" cy="5177644"/>
        </p:xfrm>
        <a:graphic>
          <a:graphicData uri="http://schemas.openxmlformats.org/drawingml/2006/table">
            <a:tbl>
              <a:tblPr/>
              <a:tblGrid>
                <a:gridCol w="4871429"/>
                <a:gridCol w="4035065"/>
              </a:tblGrid>
              <a:tr h="550252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ASSET MANAGEMENT IN NORTH WEST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CD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TOTAL NUMBER OF ASSETS 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9567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TOTAL VALUE OF ASSETS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R 63 287 118.79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ZA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 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3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UMBER OF VERIFIED ASSETS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9555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</a:tr>
              <a:tr h="50763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VALUE OF VERIFIED ASSETS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 63 231 238.37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ZA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ZA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UMBER OF UNVERIFIED ASSETS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12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VALUE OF UNVERIFIED ASSETS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R 55 880.42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 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ZA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323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PERFORMANCE </a:t>
                      </a:r>
                    </a:p>
                  </a:txBody>
                  <a:tcPr marL="5403" marR="5403" marT="5404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ZA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99.85%</a:t>
                      </a:r>
                    </a:p>
                  </a:txBody>
                  <a:tcPr marL="5403" marR="5403" marT="5404" marB="0" anchor="b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0451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5"/>
          <p:cNvSpPr>
            <a:spLocks noGrp="1" noChangeArrowheads="1"/>
          </p:cNvSpPr>
          <p:nvPr>
            <p:ph type="title"/>
          </p:nvPr>
        </p:nvSpPr>
        <p:spPr>
          <a:xfrm>
            <a:off x="308610" y="89972"/>
            <a:ext cx="8503920" cy="369332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AKEHOLDER MANAGEMENT</a:t>
            </a:r>
          </a:p>
        </p:txBody>
      </p:sp>
      <p:graphicFrame>
        <p:nvGraphicFramePr>
          <p:cNvPr id="5" name="Group 5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233688"/>
              </p:ext>
            </p:extLst>
          </p:nvPr>
        </p:nvGraphicFramePr>
        <p:xfrm>
          <a:off x="142504" y="736269"/>
          <a:ext cx="8799615" cy="5167670"/>
        </p:xfrm>
        <a:graphic>
          <a:graphicData uri="http://schemas.openxmlformats.org/drawingml/2006/table">
            <a:tbl>
              <a:tblPr/>
              <a:tblGrid>
                <a:gridCol w="1456626"/>
                <a:gridCol w="1838849"/>
                <a:gridCol w="3189502"/>
                <a:gridCol w="2314638"/>
              </a:tblGrid>
              <a:tr h="46868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Province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District 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Local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Launched/Not Launched</a:t>
                      </a:r>
                    </a:p>
                  </a:txBody>
                  <a:tcPr marT="45688" marB="456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</a:tr>
              <a:tr h="32628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rth West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gaka Modiri Molema 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hikeng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155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amotshere Moiloa  Local 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itsobotla 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atlou Tswaing 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Bojanala Platinum 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ustenburg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dibeng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oses Kotane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Kgetleng Rivier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oretele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209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r Ruth Segomotsi Mompati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Greater Taung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aledi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Kagisano Molopo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ekwa Teemane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9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musa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97584" y="639502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148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5"/>
          <p:cNvSpPr>
            <a:spLocks noGrp="1" noChangeArrowheads="1"/>
          </p:cNvSpPr>
          <p:nvPr>
            <p:ph type="title"/>
          </p:nvPr>
        </p:nvSpPr>
        <p:spPr>
          <a:xfrm>
            <a:off x="308610" y="274638"/>
            <a:ext cx="8503920" cy="369332"/>
          </a:xfrm>
          <a:prstGeom prst="rect">
            <a:avLst/>
          </a:prstGeom>
          <a:solidFill>
            <a:srgbClr val="00FF00"/>
          </a:solidFill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AKEHOLDER MANAGEMENT</a:t>
            </a:r>
          </a:p>
        </p:txBody>
      </p:sp>
      <p:graphicFrame>
        <p:nvGraphicFramePr>
          <p:cNvPr id="5" name="Group 5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514169"/>
              </p:ext>
            </p:extLst>
          </p:nvPr>
        </p:nvGraphicFramePr>
        <p:xfrm>
          <a:off x="106877" y="808326"/>
          <a:ext cx="8942119" cy="5022458"/>
        </p:xfrm>
        <a:graphic>
          <a:graphicData uri="http://schemas.openxmlformats.org/drawingml/2006/table">
            <a:tbl>
              <a:tblPr/>
              <a:tblGrid>
                <a:gridCol w="1480215"/>
                <a:gridCol w="1868628"/>
                <a:gridCol w="3241154"/>
                <a:gridCol w="2352122"/>
              </a:tblGrid>
              <a:tr h="127056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4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Province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District 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just" defTabSz="914400" rtl="0" eaLnBrk="1" fontAlgn="b" latinLnBrk="0" hangingPunct="1">
                        <a:lnSpc>
                          <a:spcPct val="1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Local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Launched/Not 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</a:tr>
              <a:tr h="85266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rth West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r. Kenneth Kaunda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tlosana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7919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lokwe/Ventersdorp 405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00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aquassie Hills Local Stakeholder Forum</a:t>
                      </a: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unched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10018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rth West  Provincial Stakeholder Forum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45" marR="91445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 be launched </a:t>
                      </a:r>
                    </a:p>
                  </a:txBody>
                  <a:tcPr marT="45688" marB="4568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15396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19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255" y="1097280"/>
            <a:ext cx="8799615" cy="4887884"/>
          </a:xfrm>
        </p:spPr>
        <p:txBody>
          <a:bodyPr>
            <a:normAutofit fontScale="25000" lnSpcReduction="20000"/>
          </a:bodyPr>
          <a:lstStyle/>
          <a:p>
            <a:r>
              <a:rPr lang="en-US" sz="6400" dirty="0" smtClean="0"/>
              <a:t>The province was the top achiever in terms of birth registration within 30 days with 107% followed by Limpopo &amp; Western Cape with 101% respectively during the 2016/17 financial year. </a:t>
            </a:r>
          </a:p>
          <a:p>
            <a:r>
              <a:rPr lang="en-US" sz="6400" dirty="0" smtClean="0"/>
              <a:t>The province managed to register more babies within 30 days in quarter 1 of the current financial year as compared to the same period in the past 4 years as follows:</a:t>
            </a:r>
          </a:p>
          <a:p>
            <a:pPr lvl="1"/>
            <a:r>
              <a:rPr lang="en-US" sz="6400" b="1" dirty="0" smtClean="0">
                <a:solidFill>
                  <a:srgbClr val="00B050"/>
                </a:solidFill>
              </a:rPr>
              <a:t>2013/14 = 9 275 (109%)</a:t>
            </a:r>
          </a:p>
          <a:p>
            <a:pPr lvl="1"/>
            <a:r>
              <a:rPr lang="en-US" sz="6400" b="1" dirty="0" smtClean="0">
                <a:solidFill>
                  <a:srgbClr val="00B050"/>
                </a:solidFill>
              </a:rPr>
              <a:t>2014/15 = 10 523 (110%)</a:t>
            </a:r>
          </a:p>
          <a:p>
            <a:pPr lvl="1"/>
            <a:r>
              <a:rPr lang="en-US" sz="6400" b="1" dirty="0" smtClean="0">
                <a:solidFill>
                  <a:srgbClr val="00B050"/>
                </a:solidFill>
              </a:rPr>
              <a:t>2015/16 = 11 400 (104%)</a:t>
            </a:r>
          </a:p>
          <a:p>
            <a:pPr lvl="1"/>
            <a:r>
              <a:rPr lang="en-US" sz="6400" b="1" dirty="0" smtClean="0">
                <a:solidFill>
                  <a:srgbClr val="00B050"/>
                </a:solidFill>
              </a:rPr>
              <a:t>2016/17 = 12 614 (107%)</a:t>
            </a:r>
          </a:p>
          <a:p>
            <a:pPr lvl="1"/>
            <a:r>
              <a:rPr lang="en-US" sz="6400" b="1" dirty="0" smtClean="0">
                <a:solidFill>
                  <a:srgbClr val="00B050"/>
                </a:solidFill>
              </a:rPr>
              <a:t>2017/18 = 13 054 (103%)</a:t>
            </a:r>
          </a:p>
          <a:p>
            <a:pPr lvl="1"/>
            <a:endParaRPr lang="en-US" sz="6400" dirty="0"/>
          </a:p>
          <a:p>
            <a:pPr>
              <a:buFont typeface="Arial" pitchFamily="34" charset="0"/>
              <a:buChar char="•"/>
            </a:pPr>
            <a:r>
              <a:rPr lang="en-US" sz="6400" dirty="0" smtClean="0"/>
              <a:t>During the financial year 2016/17 the province achieved the ID Smartcard target by 128,9%. The comparison was made for the  1</a:t>
            </a:r>
            <a:r>
              <a:rPr lang="en-US" sz="6400" baseline="30000" dirty="0" smtClean="0"/>
              <a:t>st</a:t>
            </a:r>
            <a:r>
              <a:rPr lang="en-US" sz="6400" dirty="0" smtClean="0"/>
              <a:t> quarter of past 3 financial years:</a:t>
            </a:r>
          </a:p>
          <a:p>
            <a:pPr lvl="1">
              <a:buFontTx/>
              <a:buChar char="-"/>
            </a:pPr>
            <a:r>
              <a:rPr lang="en-US" sz="6400" dirty="0" smtClean="0"/>
              <a:t>2014/15 = 26 084 (86%)</a:t>
            </a:r>
          </a:p>
          <a:p>
            <a:pPr lvl="1">
              <a:buFontTx/>
              <a:buChar char="-"/>
            </a:pPr>
            <a:r>
              <a:rPr lang="en-US" sz="6400" dirty="0" smtClean="0"/>
              <a:t>2015/16  = 34 756 (92%)</a:t>
            </a:r>
          </a:p>
          <a:p>
            <a:pPr lvl="1">
              <a:buFontTx/>
              <a:buChar char="-"/>
            </a:pPr>
            <a:r>
              <a:rPr lang="en-US" sz="6400" b="1" dirty="0" smtClean="0">
                <a:solidFill>
                  <a:srgbClr val="00B050"/>
                </a:solidFill>
              </a:rPr>
              <a:t>2016/17 = 51 622 ( 128,9%)</a:t>
            </a:r>
          </a:p>
          <a:p>
            <a:pPr lvl="1">
              <a:buFontTx/>
              <a:buChar char="-"/>
            </a:pPr>
            <a:r>
              <a:rPr lang="en-US" sz="6400" dirty="0" smtClean="0"/>
              <a:t>2017/18 = 52 808 (77,1%)</a:t>
            </a:r>
          </a:p>
          <a:p>
            <a:pPr lvl="1">
              <a:buFontTx/>
              <a:buChar char="-"/>
            </a:pPr>
            <a:endParaRPr lang="en-US" sz="6400" dirty="0"/>
          </a:p>
          <a:p>
            <a:pPr>
              <a:buFont typeface="Arial" pitchFamily="34" charset="0"/>
              <a:buChar char="•"/>
            </a:pPr>
            <a:r>
              <a:rPr lang="en-US" sz="6800" dirty="0" smtClean="0"/>
              <a:t>All immigration targets were achieved.</a:t>
            </a:r>
          </a:p>
          <a:p>
            <a:pPr>
              <a:buFont typeface="Arial" pitchFamily="34" charset="0"/>
              <a:buChar char="•"/>
            </a:pPr>
            <a:r>
              <a:rPr lang="en-US" sz="6800" dirty="0" smtClean="0"/>
              <a:t>Support from stakeholders ( traditional authorities, local media, taxi associations, churches etc.</a:t>
            </a:r>
          </a:p>
          <a:p>
            <a:pPr lvl="1">
              <a:buFontTx/>
              <a:buChar char="-"/>
            </a:pPr>
            <a:endParaRPr lang="en-US" dirty="0"/>
          </a:p>
          <a:p>
            <a:pPr marL="0" indent="0">
              <a:buNone/>
            </a:pP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The </a:t>
            </a:r>
            <a:r>
              <a:rPr lang="en-US" dirty="0">
                <a:solidFill>
                  <a:schemeClr val="bg1"/>
                </a:solidFill>
                <a:latin typeface="Calibri" pitchFamily="34" charset="0"/>
              </a:rPr>
              <a:t>Province managed to register 50 104 births during the financial year 2016/17. The province achieved by 107% followed by two provinces (Limpopo &amp; Western Cape) with 101% respectively.</a:t>
            </a:r>
          </a:p>
          <a:p>
            <a:pPr lvl="0"/>
            <a:r>
              <a:rPr lang="en-US" dirty="0">
                <a:solidFill>
                  <a:schemeClr val="bg1"/>
                </a:solidFill>
                <a:latin typeface="Calibri" pitchFamily="34" charset="0"/>
              </a:rPr>
              <a:t>The Province managed to register 50 104 births during the financial year 2016/17. The province achieved by 107% followed by two provinces (Limpopo &amp; Western Cape) with 101% respectively.</a:t>
            </a:r>
          </a:p>
          <a:p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" pitchFamily="34" charset="0"/>
              </a:rPr>
              <a:t>Province managed to register 50 104 births during the financial year 2016/17. The province achieved by 107% followed by two provinces (Limpopo &amp; Western Cape) with 101% respectively.</a:t>
            </a:r>
          </a:p>
          <a:p>
            <a:pPr lvl="0"/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The </a:t>
            </a:r>
            <a:r>
              <a:rPr lang="en-US" dirty="0">
                <a:solidFill>
                  <a:schemeClr val="bg1"/>
                </a:solidFill>
                <a:latin typeface="Calibri" pitchFamily="34" charset="0"/>
              </a:rPr>
              <a:t>Province managed to register 50 104 births during the financial year 2016/17. The province achieved by 107% followed by two provinces (Limpopo &amp; Western Cape) with 101% respectively.</a:t>
            </a: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26048"/>
            <a:ext cx="8229600" cy="822642"/>
          </a:xfrm>
          <a:prstGeom prst="rect">
            <a:avLst/>
          </a:prstGeom>
          <a:solidFill>
            <a:srgbClr val="00FF00"/>
          </a:solidFill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chievements</a:t>
            </a:r>
            <a:endParaRPr kumimoji="0" lang="en-ZA" sz="2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15397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54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0" y="1188720"/>
            <a:ext cx="8229600" cy="4525963"/>
          </a:xfrm>
        </p:spPr>
        <p:txBody>
          <a:bodyPr>
            <a:normAutofit/>
          </a:bodyPr>
          <a:lstStyle/>
          <a:p>
            <a:pPr marL="539750" lvl="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No DHA footprint in two </a:t>
            </a:r>
            <a:r>
              <a:rPr lang="en-US" sz="1600" dirty="0" smtClean="0">
                <a:solidFill>
                  <a:prstClr val="black"/>
                </a:solidFill>
              </a:rPr>
              <a:t>municipalities.</a:t>
            </a:r>
            <a:endParaRPr lang="en-US" sz="1600" dirty="0">
              <a:solidFill>
                <a:prstClr val="black"/>
              </a:solidFill>
            </a:endParaRPr>
          </a:p>
          <a:p>
            <a:pPr marL="633412" lvl="1" indent="0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r>
              <a:rPr lang="en-US" sz="1600" dirty="0">
                <a:solidFill>
                  <a:prstClr val="black"/>
                </a:solidFill>
              </a:rPr>
              <a:t> </a:t>
            </a:r>
          </a:p>
          <a:p>
            <a:pPr marL="539750" lvl="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There is  </a:t>
            </a:r>
            <a:r>
              <a:rPr lang="en-US" sz="1600" dirty="0" smtClean="0">
                <a:solidFill>
                  <a:prstClr val="black"/>
                </a:solidFill>
              </a:rPr>
              <a:t>a shortage </a:t>
            </a:r>
            <a:r>
              <a:rPr lang="en-US" sz="1600" dirty="0">
                <a:solidFill>
                  <a:prstClr val="black"/>
                </a:solidFill>
              </a:rPr>
              <a:t>of branded IMS </a:t>
            </a:r>
            <a:r>
              <a:rPr lang="en-US" sz="1600" dirty="0" smtClean="0">
                <a:solidFill>
                  <a:prstClr val="black"/>
                </a:solidFill>
              </a:rPr>
              <a:t>vehicles for </a:t>
            </a:r>
            <a:r>
              <a:rPr lang="en-US" sz="1600" dirty="0">
                <a:solidFill>
                  <a:prstClr val="black"/>
                </a:solidFill>
              </a:rPr>
              <a:t>detection, arrest and deportation.</a:t>
            </a:r>
          </a:p>
          <a:p>
            <a:pPr marL="539750" lvl="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endParaRPr lang="en-US" sz="1600" dirty="0">
              <a:solidFill>
                <a:prstClr val="black"/>
              </a:solidFill>
            </a:endParaRPr>
          </a:p>
          <a:p>
            <a:pPr marL="539750" lvl="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ZA" sz="1600" dirty="0">
                <a:solidFill>
                  <a:prstClr val="black"/>
                </a:solidFill>
              </a:rPr>
              <a:t>Office accommodation challenges for Provincial </a:t>
            </a:r>
            <a:r>
              <a:rPr lang="en-ZA" sz="1600" dirty="0" smtClean="0">
                <a:solidFill>
                  <a:prstClr val="black"/>
                </a:solidFill>
              </a:rPr>
              <a:t>office, </a:t>
            </a:r>
            <a:r>
              <a:rPr lang="en-ZA" sz="1600" dirty="0">
                <a:solidFill>
                  <a:prstClr val="black"/>
                </a:solidFill>
              </a:rPr>
              <a:t>Rustenburg Large </a:t>
            </a:r>
            <a:r>
              <a:rPr lang="en-ZA" sz="1600" dirty="0" smtClean="0">
                <a:solidFill>
                  <a:prstClr val="black"/>
                </a:solidFill>
              </a:rPr>
              <a:t>office and Taung Medium Office. </a:t>
            </a:r>
          </a:p>
          <a:p>
            <a:pPr marL="176212" lvl="0" indent="0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endParaRPr lang="en-ZA" sz="1600" dirty="0" smtClean="0">
              <a:solidFill>
                <a:prstClr val="black"/>
              </a:solidFill>
            </a:endParaRPr>
          </a:p>
          <a:p>
            <a:pPr marL="53975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US" sz="1600" dirty="0"/>
              <a:t>The province </a:t>
            </a:r>
            <a:r>
              <a:rPr lang="en-US" sz="1600" dirty="0" smtClean="0"/>
              <a:t>did not achieve </a:t>
            </a:r>
            <a:r>
              <a:rPr lang="en-US" sz="1600" dirty="0"/>
              <a:t>payment of invoices </a:t>
            </a:r>
            <a:r>
              <a:rPr lang="en-US" sz="1600" dirty="0" smtClean="0"/>
              <a:t>target in 2016/17 due  </a:t>
            </a:r>
            <a:r>
              <a:rPr lang="en-ZA" sz="1600" dirty="0">
                <a:solidFill>
                  <a:srgbClr val="000000"/>
                </a:solidFill>
              </a:rPr>
              <a:t>to BAS shutdown from 16 March 2016 and orders were generated at Head Office. Suppliers details changed without updating National </a:t>
            </a:r>
            <a:r>
              <a:rPr lang="en-ZA" sz="1600" dirty="0" smtClean="0">
                <a:solidFill>
                  <a:srgbClr val="000000"/>
                </a:solidFill>
              </a:rPr>
              <a:t>Treasury </a:t>
            </a:r>
            <a:r>
              <a:rPr lang="en-ZA" sz="1600" dirty="0">
                <a:solidFill>
                  <a:srgbClr val="000000"/>
                </a:solidFill>
              </a:rPr>
              <a:t>(Time delay of system interface between DHA &amp; NT</a:t>
            </a:r>
            <a:r>
              <a:rPr lang="en-ZA" sz="1600" dirty="0" smtClean="0">
                <a:solidFill>
                  <a:srgbClr val="000000"/>
                </a:solidFill>
              </a:rPr>
              <a:t>).</a:t>
            </a:r>
          </a:p>
          <a:p>
            <a:pPr marL="176212" indent="0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endParaRPr lang="en-ZA" sz="1600" dirty="0" smtClean="0">
              <a:solidFill>
                <a:srgbClr val="000000"/>
              </a:solidFill>
            </a:endParaRPr>
          </a:p>
          <a:p>
            <a:pPr marL="53975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Attempt by Foreign Nationals to register themselves or birth of their babies in our National Population Register through Late Registration of Birth process</a:t>
            </a:r>
            <a:r>
              <a:rPr lang="en-US" sz="1600" dirty="0" smtClean="0">
                <a:solidFill>
                  <a:prstClr val="black"/>
                </a:solidFill>
              </a:rPr>
              <a:t>.</a:t>
            </a:r>
          </a:p>
          <a:p>
            <a:pPr marL="176212" indent="0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endParaRPr lang="en-US" sz="1600" dirty="0">
              <a:solidFill>
                <a:prstClr val="black"/>
              </a:solidFill>
            </a:endParaRPr>
          </a:p>
          <a:p>
            <a:pPr marL="53975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Connected health facilities not fully optimized (requires enhancement of IT equipment  and network e.g. online verification system and ADSL   </a:t>
            </a:r>
          </a:p>
          <a:p>
            <a:pPr marL="53975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endParaRPr lang="en-ZA" sz="1600" dirty="0">
              <a:solidFill>
                <a:srgbClr val="000000"/>
              </a:solidFill>
            </a:endParaRPr>
          </a:p>
          <a:p>
            <a:pPr marL="176212" indent="0" defTabSz="914400" fontAlgn="base">
              <a:spcBef>
                <a:spcPct val="0"/>
              </a:spcBef>
              <a:spcAft>
                <a:spcPct val="0"/>
              </a:spcAft>
              <a:buSzPct val="130000"/>
              <a:buNone/>
            </a:pPr>
            <a:endParaRPr lang="en-US" sz="2400" dirty="0"/>
          </a:p>
          <a:p>
            <a:pPr marL="539750" lvl="0" indent="-363538" defTabSz="914400" fontAlgn="base">
              <a:spcBef>
                <a:spcPct val="0"/>
              </a:spcBef>
              <a:spcAft>
                <a:spcPct val="0"/>
              </a:spcAft>
              <a:buSzPct val="130000"/>
              <a:buFont typeface="Arial" charset="0"/>
              <a:buChar char="•"/>
            </a:pPr>
            <a:endParaRPr lang="en-ZA" sz="2400" dirty="0">
              <a:solidFill>
                <a:prstClr val="black"/>
              </a:solidFill>
              <a:latin typeface="Calibri" pitchFamily="34" charset="0"/>
            </a:endParaRP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71768"/>
            <a:ext cx="8321040" cy="776922"/>
          </a:xfrm>
          <a:prstGeom prst="rect">
            <a:avLst/>
          </a:prstGeom>
          <a:solidFill>
            <a:srgbClr val="00FF00"/>
          </a:solidFill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hallenges</a:t>
            </a:r>
            <a:r>
              <a:rPr kumimoji="0" lang="en-ZA" sz="2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21335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34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algn="ctr" defTabSz="914400" fontAlgn="base">
              <a:spcAft>
                <a:spcPct val="0"/>
              </a:spcAft>
              <a:buFont typeface="Arial" charset="0"/>
              <a:buChar char="•"/>
            </a:pPr>
            <a:r>
              <a:rPr lang="en-US" sz="4000" b="1" dirty="0">
                <a:solidFill>
                  <a:prstClr val="black"/>
                </a:solidFill>
              </a:rPr>
              <a:t>KE A LEBOGA </a:t>
            </a:r>
          </a:p>
          <a:p>
            <a:pPr lvl="0" algn="ctr" defTabSz="914400" fontAlgn="base">
              <a:spcAft>
                <a:spcPct val="0"/>
              </a:spcAft>
              <a:buFont typeface="Arial" charset="0"/>
              <a:buChar char="•"/>
            </a:pPr>
            <a:endParaRPr lang="en-US" sz="4000" b="1" dirty="0">
              <a:solidFill>
                <a:prstClr val="black"/>
              </a:solidFill>
            </a:endParaRPr>
          </a:p>
          <a:p>
            <a:pPr lvl="0" algn="ctr" defTabSz="914400" fontAlgn="base">
              <a:spcAft>
                <a:spcPct val="0"/>
              </a:spcAft>
              <a:buFont typeface="Arial" charset="0"/>
              <a:buChar char="•"/>
            </a:pPr>
            <a:r>
              <a:rPr lang="en-US" sz="4000" b="1" dirty="0">
                <a:solidFill>
                  <a:prstClr val="black"/>
                </a:solidFill>
              </a:rPr>
              <a:t>BAIE DANKIE</a:t>
            </a:r>
          </a:p>
          <a:p>
            <a:pPr lvl="0" algn="ctr" defTabSz="914400" fontAlgn="base">
              <a:spcAft>
                <a:spcPct val="0"/>
              </a:spcAft>
              <a:buFont typeface="Arial" charset="0"/>
              <a:buChar char="•"/>
            </a:pPr>
            <a:endParaRPr lang="en-US" sz="4000" b="1" dirty="0">
              <a:solidFill>
                <a:prstClr val="black"/>
              </a:solidFill>
            </a:endParaRPr>
          </a:p>
          <a:p>
            <a:pPr lvl="0" algn="ctr" defTabSz="914400" fontAlgn="base">
              <a:spcAft>
                <a:spcPct val="0"/>
              </a:spcAft>
              <a:buFont typeface="Arial" charset="0"/>
              <a:buChar char="•"/>
            </a:pPr>
            <a:r>
              <a:rPr lang="en-US" sz="4000" b="1" dirty="0">
                <a:solidFill>
                  <a:prstClr val="black"/>
                </a:solidFill>
              </a:rPr>
              <a:t>THANK YOU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21335" y="6383152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94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870" y="811530"/>
            <a:ext cx="8915400" cy="5040630"/>
          </a:xfrm>
        </p:spPr>
        <p:txBody>
          <a:bodyPr>
            <a:normAutofit lnSpcReduction="10000"/>
          </a:bodyPr>
          <a:lstStyle/>
          <a:p>
            <a:pPr lvl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n"/>
              <a:defRPr/>
            </a:pP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The total population of the North West Province is 3,7 million which constitute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6.8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% of the country's population.</a:t>
            </a:r>
          </a:p>
          <a:p>
            <a:pPr lvl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n"/>
              <a:defRPr/>
            </a:pP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For the period 2011 –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016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the province experienced a net migration of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95 598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96 223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out-migrants &amp;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91 821 in-migrants).</a:t>
            </a:r>
            <a:endParaRPr lang="en-GB" sz="18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lvl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n"/>
              <a:defRPr/>
            </a:pP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There are four (4) district and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eighteen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8) </a:t>
            </a: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local municipalities.</a:t>
            </a:r>
          </a:p>
          <a:p>
            <a:pPr lvl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n"/>
              <a:defRPr/>
            </a:pPr>
            <a:r>
              <a:rPr lang="en-GB" sz="18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Mining is the major contributor to the provincial economy supported by cattle and mixed crop </a:t>
            </a:r>
            <a:r>
              <a:rPr lang="en-GB" sz="18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farming.</a:t>
            </a: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8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800" kern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8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800" kern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200" kern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GB" sz="12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0" indent="0" defTabSz="914400" fontAlgn="base">
              <a:lnSpc>
                <a:spcPct val="80000"/>
              </a:lnSpc>
              <a:spcBef>
                <a:spcPct val="9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GB" sz="12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: StatsSA Mid Term Population Estimates</a:t>
            </a:r>
            <a:endParaRPr lang="en-GB" sz="12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4" name="Rectangle 2"/>
          <p:cNvSpPr txBox="1">
            <a:spLocks noGrp="1" noChangeArrowheads="1"/>
          </p:cNvSpPr>
          <p:nvPr>
            <p:ph type="title"/>
          </p:nvPr>
        </p:nvSpPr>
        <p:spPr>
          <a:xfrm>
            <a:off x="457200" y="194628"/>
            <a:ext cx="8229600" cy="342582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  <a:defRPr/>
            </a:pPr>
            <a:r>
              <a:rPr lang="en-GB" sz="2400" b="1" kern="0" dirty="0">
                <a:solidFill>
                  <a:srgbClr val="000000"/>
                </a:solidFill>
                <a:cs typeface="Arial" charset="0"/>
              </a:rPr>
              <a:t>I</a:t>
            </a:r>
            <a:r>
              <a:rPr lang="en-US" sz="2400" b="1" kern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NTRODUCTION &amp; BACKGROUND</a:t>
            </a:r>
            <a:endParaRPr lang="en-GB" sz="2400" b="1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84670" y="639502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486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548322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VINCIAL MANAGEMENT AND DERMACATION 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5" name="Organization Chart 2011"/>
          <p:cNvGrpSpPr>
            <a:grpSpLocks/>
          </p:cNvGrpSpPr>
          <p:nvPr/>
        </p:nvGrpSpPr>
        <p:grpSpPr bwMode="auto">
          <a:xfrm>
            <a:off x="80010" y="822960"/>
            <a:ext cx="8972550" cy="4975487"/>
            <a:chOff x="1041" y="1246"/>
            <a:chExt cx="4000" cy="1676"/>
          </a:xfrm>
        </p:grpSpPr>
        <p:cxnSp>
          <p:nvCxnSpPr>
            <p:cNvPr id="6" name="_s2052"/>
            <p:cNvCxnSpPr>
              <a:cxnSpLocks noChangeShapeType="1"/>
              <a:stCxn id="24" idx="0"/>
            </p:cNvCxnSpPr>
            <p:nvPr/>
          </p:nvCxnSpPr>
          <p:spPr bwMode="auto">
            <a:xfrm rot="5400000" flipH="1" flipV="1">
              <a:off x="4540" y="2510"/>
              <a:ext cx="150" cy="15"/>
            </a:xfrm>
            <a:prstGeom prst="straightConnector1">
              <a:avLst/>
            </a:prstGeom>
            <a:noFill/>
            <a:ln w="38100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7" name="_s2053"/>
            <p:cNvCxnSpPr>
              <a:cxnSpLocks noChangeShapeType="1"/>
              <a:stCxn id="23" idx="0"/>
              <a:endCxn id="18" idx="2"/>
            </p:cNvCxnSpPr>
            <p:nvPr/>
          </p:nvCxnSpPr>
          <p:spPr bwMode="auto">
            <a:xfrm rot="5400000" flipH="1" flipV="1">
              <a:off x="3541" y="2524"/>
              <a:ext cx="127" cy="9"/>
            </a:xfrm>
            <a:prstGeom prst="straightConnector1">
              <a:avLst/>
            </a:prstGeom>
            <a:noFill/>
            <a:ln w="38100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8" name="_s2054"/>
            <p:cNvCxnSpPr>
              <a:cxnSpLocks noChangeShapeType="1"/>
            </p:cNvCxnSpPr>
            <p:nvPr/>
          </p:nvCxnSpPr>
          <p:spPr bwMode="auto">
            <a:xfrm rot="5400000" flipH="1" flipV="1">
              <a:off x="2656" y="2524"/>
              <a:ext cx="130" cy="2"/>
            </a:xfrm>
            <a:prstGeom prst="straightConnector1">
              <a:avLst/>
            </a:prstGeom>
            <a:noFill/>
            <a:ln w="38100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9" name="_s2055"/>
            <p:cNvCxnSpPr>
              <a:cxnSpLocks noChangeShapeType="1"/>
              <a:endCxn id="16" idx="2"/>
            </p:cNvCxnSpPr>
            <p:nvPr/>
          </p:nvCxnSpPr>
          <p:spPr bwMode="auto">
            <a:xfrm rot="16200000" flipV="1">
              <a:off x="1558" y="2509"/>
              <a:ext cx="148" cy="17"/>
            </a:xfrm>
            <a:prstGeom prst="straightConnector1">
              <a:avLst/>
            </a:prstGeom>
            <a:noFill/>
            <a:ln w="38100">
              <a:solidFill>
                <a:sysClr val="windowText" lastClr="000000"/>
              </a:solidFill>
              <a:round/>
              <a:headEnd/>
              <a:tailEnd/>
            </a:ln>
          </p:spPr>
        </p:cxnSp>
        <p:cxnSp>
          <p:nvCxnSpPr>
            <p:cNvPr id="10" name="_s2056"/>
            <p:cNvCxnSpPr>
              <a:cxnSpLocks noChangeShapeType="1"/>
              <a:stCxn id="20" idx="3"/>
              <a:endCxn id="15" idx="2"/>
            </p:cNvCxnSpPr>
            <p:nvPr/>
          </p:nvCxnSpPr>
          <p:spPr bwMode="auto">
            <a:xfrm flipV="1">
              <a:off x="2010" y="1584"/>
              <a:ext cx="1086" cy="68"/>
            </a:xfrm>
            <a:prstGeom prst="bentConnector2">
              <a:avLst/>
            </a:prstGeom>
            <a:noFill/>
            <a:ln w="38100">
              <a:solidFill>
                <a:sysClr val="windowText" lastClr="000000"/>
              </a:solidFill>
              <a:miter lim="800000"/>
              <a:headEnd/>
              <a:tailEnd/>
            </a:ln>
          </p:spPr>
        </p:cxnSp>
        <p:cxnSp>
          <p:nvCxnSpPr>
            <p:cNvPr id="11" name="_s2057"/>
            <p:cNvCxnSpPr>
              <a:cxnSpLocks noChangeShapeType="1"/>
              <a:stCxn id="19" idx="0"/>
              <a:endCxn id="15" idx="2"/>
            </p:cNvCxnSpPr>
            <p:nvPr/>
          </p:nvCxnSpPr>
          <p:spPr bwMode="auto">
            <a:xfrm rot="16200000" flipV="1">
              <a:off x="3567" y="1113"/>
              <a:ext cx="541" cy="1483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ysClr val="windowText" lastClr="000000"/>
              </a:solidFill>
              <a:miter lim="800000"/>
              <a:headEnd/>
              <a:tailEnd/>
            </a:ln>
          </p:spPr>
        </p:cxnSp>
        <p:cxnSp>
          <p:nvCxnSpPr>
            <p:cNvPr id="12" name="_s2058"/>
            <p:cNvCxnSpPr>
              <a:cxnSpLocks noChangeShapeType="1"/>
              <a:stCxn id="18" idx="0"/>
              <a:endCxn id="15" idx="2"/>
            </p:cNvCxnSpPr>
            <p:nvPr/>
          </p:nvCxnSpPr>
          <p:spPr bwMode="auto">
            <a:xfrm rot="16200000" flipV="1">
              <a:off x="3078" y="1602"/>
              <a:ext cx="548" cy="513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ysClr val="windowText" lastClr="000000"/>
              </a:solidFill>
              <a:miter lim="800000"/>
              <a:headEnd/>
              <a:tailEnd/>
            </a:ln>
          </p:spPr>
        </p:cxnSp>
        <p:cxnSp>
          <p:nvCxnSpPr>
            <p:cNvPr id="13" name="_s2059"/>
            <p:cNvCxnSpPr>
              <a:cxnSpLocks noChangeShapeType="1"/>
              <a:stCxn id="17" idx="0"/>
              <a:endCxn id="15" idx="2"/>
            </p:cNvCxnSpPr>
            <p:nvPr/>
          </p:nvCxnSpPr>
          <p:spPr bwMode="auto">
            <a:xfrm rot="5400000" flipH="1" flipV="1">
              <a:off x="2624" y="1665"/>
              <a:ext cx="554" cy="391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ysClr val="windowText" lastClr="000000"/>
              </a:solidFill>
              <a:miter lim="800000"/>
              <a:headEnd/>
              <a:tailEnd/>
            </a:ln>
          </p:spPr>
        </p:cxnSp>
        <p:cxnSp>
          <p:nvCxnSpPr>
            <p:cNvPr id="14" name="_s2060"/>
            <p:cNvCxnSpPr>
              <a:cxnSpLocks noChangeShapeType="1"/>
              <a:stCxn id="16" idx="0"/>
              <a:endCxn id="15" idx="2"/>
            </p:cNvCxnSpPr>
            <p:nvPr/>
          </p:nvCxnSpPr>
          <p:spPr bwMode="auto">
            <a:xfrm rot="5400000" flipH="1" flipV="1">
              <a:off x="2094" y="1113"/>
              <a:ext cx="531" cy="1472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ysClr val="windowText" lastClr="000000"/>
              </a:solidFill>
              <a:miter lim="800000"/>
              <a:headEnd/>
              <a:tailEnd/>
            </a:ln>
          </p:spPr>
        </p:cxnSp>
        <p:sp>
          <p:nvSpPr>
            <p:cNvPr id="15" name="_s2061"/>
            <p:cNvSpPr>
              <a:spLocks noChangeArrowheads="1"/>
            </p:cNvSpPr>
            <p:nvPr/>
          </p:nvSpPr>
          <p:spPr bwMode="auto">
            <a:xfrm>
              <a:off x="2664" y="1246"/>
              <a:ext cx="864" cy="338"/>
            </a:xfrm>
            <a:prstGeom prst="roundRect">
              <a:avLst>
                <a:gd name="adj" fmla="val 16667"/>
              </a:avLst>
            </a:prstGeom>
            <a:solidFill>
              <a:srgbClr val="00FF00">
                <a:alpha val="50195"/>
              </a:srgbClr>
            </a:solidFill>
            <a:ln w="28575">
              <a:solidFill>
                <a:srgbClr val="FF0000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Provincial Manag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(Acting)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s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. Irene Mantlhasi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16" name="_s2062"/>
            <p:cNvSpPr>
              <a:spLocks noChangeArrowheads="1"/>
            </p:cNvSpPr>
            <p:nvPr/>
          </p:nvSpPr>
          <p:spPr bwMode="auto">
            <a:xfrm>
              <a:off x="1041" y="2115"/>
              <a:ext cx="1165" cy="328"/>
            </a:xfrm>
            <a:prstGeom prst="roundRect">
              <a:avLst>
                <a:gd name="adj" fmla="val 16667"/>
              </a:avLst>
            </a:prstGeom>
            <a:solidFill>
              <a:srgbClr val="FFFF66">
                <a:alpha val="50195"/>
              </a:srgbClr>
            </a:solidFill>
            <a:ln w="28575">
              <a:solidFill>
                <a:srgbClr val="FF00AD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r 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Kenneth Kaunda Distric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MO: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s. M.E Dontso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(acting)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17" name="_s2063"/>
            <p:cNvSpPr>
              <a:spLocks noChangeArrowheads="1"/>
            </p:cNvSpPr>
            <p:nvPr/>
          </p:nvSpPr>
          <p:spPr bwMode="auto">
            <a:xfrm>
              <a:off x="2300" y="2138"/>
              <a:ext cx="810" cy="334"/>
            </a:xfrm>
            <a:prstGeom prst="roundRect">
              <a:avLst>
                <a:gd name="adj" fmla="val 16667"/>
              </a:avLst>
            </a:prstGeom>
            <a:solidFill>
              <a:srgbClr val="FFFF66">
                <a:alpha val="50195"/>
              </a:srgbClr>
            </a:solidFill>
            <a:ln w="28575">
              <a:solidFill>
                <a:srgbClr val="FF00AD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Bojanala Distric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MO: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r. M. C. Rambuda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18" name="_s2064"/>
            <p:cNvSpPr>
              <a:spLocks noChangeArrowheads="1"/>
            </p:cNvSpPr>
            <p:nvPr/>
          </p:nvSpPr>
          <p:spPr bwMode="auto">
            <a:xfrm>
              <a:off x="3177" y="2132"/>
              <a:ext cx="864" cy="333"/>
            </a:xfrm>
            <a:prstGeom prst="roundRect">
              <a:avLst>
                <a:gd name="adj" fmla="val 16667"/>
              </a:avLst>
            </a:prstGeom>
            <a:solidFill>
              <a:srgbClr val="FFFF66">
                <a:alpha val="50195"/>
              </a:srgbClr>
            </a:solidFill>
            <a:ln w="28575">
              <a:solidFill>
                <a:srgbClr val="FF00AD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Ngaka Modiri Distric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MO: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r. N.C Shabalala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19" name="_s2065"/>
            <p:cNvSpPr>
              <a:spLocks noChangeArrowheads="1"/>
            </p:cNvSpPr>
            <p:nvPr/>
          </p:nvSpPr>
          <p:spPr bwMode="auto">
            <a:xfrm>
              <a:off x="4116" y="2125"/>
              <a:ext cx="925" cy="333"/>
            </a:xfrm>
            <a:prstGeom prst="roundRect">
              <a:avLst>
                <a:gd name="adj" fmla="val 16667"/>
              </a:avLst>
            </a:prstGeom>
            <a:solidFill>
              <a:srgbClr val="FFFF66">
                <a:alpha val="50195"/>
              </a:srgbClr>
            </a:solidFill>
            <a:ln w="28575">
              <a:solidFill>
                <a:srgbClr val="FF00AD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r RS Mompati 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istric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MO: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s.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.E Dontso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(acting)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20" name="_s2066"/>
            <p:cNvSpPr>
              <a:spLocks noChangeArrowheads="1"/>
            </p:cNvSpPr>
            <p:nvPr/>
          </p:nvSpPr>
          <p:spPr bwMode="auto">
            <a:xfrm>
              <a:off x="1146" y="1519"/>
              <a:ext cx="864" cy="266"/>
            </a:xfrm>
            <a:prstGeom prst="roundRect">
              <a:avLst>
                <a:gd name="adj" fmla="val 16667"/>
              </a:avLst>
            </a:prstGeom>
            <a:solidFill>
              <a:srgbClr val="FF99FF">
                <a:alpha val="49803"/>
              </a:srgbClr>
            </a:solidFill>
            <a:ln w="28575">
              <a:solidFill>
                <a:srgbClr val="F1FD0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Director</a:t>
              </a: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: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Finance &amp; Suppor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r Stephen </a:t>
              </a:r>
              <a:r>
                <a:rPr kumimoji="0" lang="en-ZA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Tiley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21" name="_s2067"/>
            <p:cNvSpPr>
              <a:spLocks noChangeArrowheads="1"/>
            </p:cNvSpPr>
            <p:nvPr/>
          </p:nvSpPr>
          <p:spPr bwMode="auto">
            <a:xfrm>
              <a:off x="1152" y="2592"/>
              <a:ext cx="864" cy="323"/>
            </a:xfrm>
            <a:prstGeom prst="roundRect">
              <a:avLst>
                <a:gd name="adj" fmla="val 16667"/>
              </a:avLst>
            </a:prstGeom>
            <a:solidFill>
              <a:srgbClr val="00CC66">
                <a:alpha val="50195"/>
              </a:srgbClr>
            </a:solidFill>
            <a:ln w="28575">
              <a:solidFill>
                <a:srgbClr val="01BD0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anagers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Large Off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2 Medium offic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Small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22" name="_s2068"/>
            <p:cNvSpPr>
              <a:spLocks noChangeArrowheads="1"/>
            </p:cNvSpPr>
            <p:nvPr/>
          </p:nvSpPr>
          <p:spPr bwMode="auto">
            <a:xfrm>
              <a:off x="2160" y="2592"/>
              <a:ext cx="864" cy="330"/>
            </a:xfrm>
            <a:prstGeom prst="roundRect">
              <a:avLst>
                <a:gd name="adj" fmla="val 16667"/>
              </a:avLst>
            </a:prstGeom>
            <a:solidFill>
              <a:srgbClr val="00CC66">
                <a:alpha val="50195"/>
              </a:srgbClr>
            </a:solidFill>
            <a:ln w="28575">
              <a:solidFill>
                <a:srgbClr val="01BD0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anag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Large office 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ZA" sz="1300" b="1" kern="0" dirty="0">
                  <a:solidFill>
                    <a:sysClr val="windowText" lastClr="000000"/>
                  </a:solidFill>
                  <a:latin typeface="Calibri" pitchFamily="34" charset="0"/>
                </a:rPr>
                <a:t>4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 </a:t>
              </a: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edium offic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 1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 </a:t>
              </a: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Small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Thusong Centre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23" name="_s2069"/>
            <p:cNvSpPr>
              <a:spLocks noChangeArrowheads="1"/>
            </p:cNvSpPr>
            <p:nvPr/>
          </p:nvSpPr>
          <p:spPr bwMode="auto">
            <a:xfrm>
              <a:off x="3168" y="2592"/>
              <a:ext cx="864" cy="323"/>
            </a:xfrm>
            <a:prstGeom prst="roundRect">
              <a:avLst>
                <a:gd name="adj" fmla="val 16667"/>
              </a:avLst>
            </a:prstGeom>
            <a:solidFill>
              <a:srgbClr val="00CC66">
                <a:alpha val="50195"/>
              </a:srgbClr>
            </a:solidFill>
            <a:ln w="28575">
              <a:solidFill>
                <a:srgbClr val="01BD0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anagers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Large off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5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 </a:t>
              </a: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edium offic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Small off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  <p:sp>
          <p:nvSpPr>
            <p:cNvPr id="24" name="_s2070"/>
            <p:cNvSpPr>
              <a:spLocks noChangeArrowheads="1"/>
            </p:cNvSpPr>
            <p:nvPr/>
          </p:nvSpPr>
          <p:spPr bwMode="auto">
            <a:xfrm>
              <a:off x="4176" y="2592"/>
              <a:ext cx="864" cy="330"/>
            </a:xfrm>
            <a:prstGeom prst="roundRect">
              <a:avLst>
                <a:gd name="adj" fmla="val 16667"/>
              </a:avLst>
            </a:prstGeom>
            <a:solidFill>
              <a:srgbClr val="00CC66">
                <a:alpha val="50195"/>
              </a:srgbClr>
            </a:solidFill>
            <a:ln w="28575">
              <a:solidFill>
                <a:srgbClr val="01BD0A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Managers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0 Large off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3 Medium </a:t>
              </a:r>
              <a:r>
                <a:rPr kumimoji="0" lang="en-ZA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offic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itchFamily="34" charset="0"/>
                </a:rPr>
                <a:t>1 Thusong Centre</a:t>
              </a:r>
              <a:endParaRPr kumimoji="0" lang="en-ZA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09423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96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651192"/>
          </a:xfrm>
          <a:prstGeom prst="rect">
            <a:avLst/>
          </a:prstGeom>
        </p:spPr>
        <p:txBody>
          <a:bodyPr/>
          <a:lstStyle/>
          <a:p>
            <a:pPr eaLnBrk="0" hangingPunct="0">
              <a:lnSpc>
                <a:spcPct val="90000"/>
              </a:lnSpc>
              <a:defRPr/>
            </a:pPr>
            <a:r>
              <a:rPr lang="en-ZA" sz="2000" b="1" kern="0" dirty="0">
                <a:solidFill>
                  <a:srgbClr val="000000"/>
                </a:solidFill>
                <a:cs typeface="Arial" charset="0"/>
              </a:rPr>
              <a:t>SUMMARY OF THE CURRENT FOOTPRINT FOR THE </a:t>
            </a:r>
            <a:br>
              <a:rPr lang="en-ZA" sz="2000" b="1" kern="0" dirty="0">
                <a:solidFill>
                  <a:srgbClr val="000000"/>
                </a:solidFill>
                <a:cs typeface="Arial" charset="0"/>
              </a:rPr>
            </a:br>
            <a:r>
              <a:rPr lang="en-ZA" sz="2000" b="1" kern="0" dirty="0">
                <a:solidFill>
                  <a:srgbClr val="000000"/>
                </a:solidFill>
                <a:cs typeface="Arial" charset="0"/>
              </a:rPr>
              <a:t>NORTH WEST ROVINCE </a:t>
            </a:r>
          </a:p>
        </p:txBody>
      </p:sp>
      <p:graphicFrame>
        <p:nvGraphicFramePr>
          <p:cNvPr id="5" name="Group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4621067"/>
              </p:ext>
            </p:extLst>
          </p:nvPr>
        </p:nvGraphicFramePr>
        <p:xfrm>
          <a:off x="111125" y="1041718"/>
          <a:ext cx="8936039" cy="4717815"/>
        </p:xfrm>
        <a:graphic>
          <a:graphicData uri="http://schemas.openxmlformats.org/drawingml/2006/table">
            <a:tbl>
              <a:tblPr/>
              <a:tblGrid>
                <a:gridCol w="2673639"/>
                <a:gridCol w="1676400"/>
                <a:gridCol w="1524000"/>
                <a:gridCol w="3062000"/>
              </a:tblGrid>
              <a:tr h="10722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YPE OF OFFI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ZA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1999" marR="71999" marT="72026" marB="72026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HA current footprint </a:t>
                      </a:r>
                    </a:p>
                  </a:txBody>
                  <a:tcPr marL="71999" marR="71999" marT="72026" marB="72026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Operational</a:t>
                      </a:r>
                    </a:p>
                  </a:txBody>
                  <a:tcPr marL="71999" marR="71999" marT="72026" marB="72026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ments</a:t>
                      </a:r>
                    </a:p>
                  </a:txBody>
                  <a:tcPr marL="71999" marR="71999" marT="72026" marB="72026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CC33"/>
                    </a:solidFill>
                  </a:tcPr>
                </a:tc>
              </a:tr>
              <a:tr h="659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ocal Office Large 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ne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76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ocal Office Medium 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ne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87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ocal Office Small 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ne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659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ealth Facilities (Connected)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6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5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  Health facility (Ramatlabama) has network challenges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073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usong Service Centre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ne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905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tal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58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r>
                        <a:rPr kumimoji="0" lang="en-ZA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57</a:t>
                      </a: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-65" charset="2"/>
                        <a:buNone/>
                        <a:tabLst/>
                      </a:pPr>
                      <a:endParaRPr kumimoji="0" lang="en-ZA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71999" marR="71999" marT="72026" marB="72026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00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13564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55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728304" y="6438117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8337DDC-B6F8-49FF-BDDA-9933E62A050B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3316" name="TextBox 1"/>
          <p:cNvSpPr txBox="1">
            <a:spLocks noChangeArrowheads="1"/>
          </p:cNvSpPr>
          <p:nvPr/>
        </p:nvSpPr>
        <p:spPr bwMode="auto">
          <a:xfrm>
            <a:off x="152400" y="152400"/>
            <a:ext cx="89154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prstClr val="black"/>
                </a:solidFill>
                <a:latin typeface="Arial" charset="0"/>
              </a:rPr>
              <a:t>Ngaka Modiri Molema District</a:t>
            </a:r>
          </a:p>
        </p:txBody>
      </p:sp>
      <p:graphicFrame>
        <p:nvGraphicFramePr>
          <p:cNvPr id="24677" name="Group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2687098"/>
              </p:ext>
            </p:extLst>
          </p:nvPr>
        </p:nvGraphicFramePr>
        <p:xfrm>
          <a:off x="4613754" y="795984"/>
          <a:ext cx="4248150" cy="4034473"/>
        </p:xfrm>
        <a:graphic>
          <a:graphicData uri="http://schemas.openxmlformats.org/drawingml/2006/table">
            <a:tbl>
              <a:tblPr/>
              <a:tblGrid>
                <a:gridCol w="2232025"/>
                <a:gridCol w="2016125"/>
              </a:tblGrid>
              <a:tr h="67945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Local Municipality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HA Presence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86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Ramotshere Moiloa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)  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Zeerust M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86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ahikeng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-Mahikeng Provincial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  Office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-Molopo MO &amp;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- Mmabatho L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927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itsobotla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-Lichtenburg &amp;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-Itsoseng MOs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61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Ratlou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)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Madibogo S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461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Tswaing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  Atamelang MO</a:t>
                      </a:r>
                    </a:p>
                  </a:txBody>
                  <a:tcPr marL="9525" marR="9525" marT="952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4696" name="Group 1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254952"/>
              </p:ext>
            </p:extLst>
          </p:nvPr>
        </p:nvGraphicFramePr>
        <p:xfrm>
          <a:off x="0" y="4941168"/>
          <a:ext cx="9144000" cy="1496949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12961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In terms of progress, the Province acquired space at Madibogo and has a staff compliment of two officers servicing the public daily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Madibogo Small Office is +/- 10 kilometers away from Ratlou Local Municipality offices where a suitable accommodation was identified. When the construction of the said building is completed, we will be able to move in as agreed with the Municipality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.  </a:t>
                      </a:r>
                    </a:p>
                  </a:txBody>
                  <a:tcPr marL="9525" marR="9525" marT="952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 descr="Image result for south Africa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69711"/>
            <a:ext cx="4072110" cy="410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>
            <a:off x="1907704" y="3933056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2051720" y="3933056"/>
            <a:ext cx="2448272" cy="4320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259632" y="3140968"/>
            <a:ext cx="3240360" cy="720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59832" y="3140968"/>
            <a:ext cx="1440160" cy="1440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2879812" y="1772816"/>
            <a:ext cx="1548172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2195736" y="2722733"/>
            <a:ext cx="2232248" cy="1302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612427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933FB2E-4F97-4B19-B3C8-6920FF3E8165}" type="slidenum">
              <a:rPr lang="en-US" sz="1400" smtClean="0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400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4340" name="TextBox 1"/>
          <p:cNvSpPr txBox="1">
            <a:spLocks noChangeArrowheads="1"/>
          </p:cNvSpPr>
          <p:nvPr/>
        </p:nvSpPr>
        <p:spPr bwMode="auto">
          <a:xfrm>
            <a:off x="304800" y="152400"/>
            <a:ext cx="86868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prstClr val="black"/>
                </a:solidFill>
                <a:latin typeface="Arial" charset="0"/>
              </a:rPr>
              <a:t>DR Ruth Segomotsi Mompati District</a:t>
            </a:r>
          </a:p>
        </p:txBody>
      </p:sp>
      <p:graphicFrame>
        <p:nvGraphicFramePr>
          <p:cNvPr id="25664" name="Group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24061"/>
              </p:ext>
            </p:extLst>
          </p:nvPr>
        </p:nvGraphicFramePr>
        <p:xfrm>
          <a:off x="5067672" y="764704"/>
          <a:ext cx="3923928" cy="4053414"/>
        </p:xfrm>
        <a:graphic>
          <a:graphicData uri="http://schemas.openxmlformats.org/drawingml/2006/table">
            <a:tbl>
              <a:tblPr/>
              <a:tblGrid>
                <a:gridCol w="1952600"/>
                <a:gridCol w="1971328"/>
              </a:tblGrid>
              <a:tr h="75122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Local Municipality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DHA Presence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924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Kagisano/Molop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-Ganyesa MO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- Morokweng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  THC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959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Naledi 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Vryburg M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Mamusa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– Schweizer Reneke Hospital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Taung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Taung MO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4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Lekwa -Teemane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(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) –Bloemhof &amp;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– Christiana Health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</a:rPr>
                        <a:t>         Facilities</a:t>
                      </a: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5674" name="Group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8284119"/>
              </p:ext>
            </p:extLst>
          </p:nvPr>
        </p:nvGraphicFramePr>
        <p:xfrm>
          <a:off x="95002" y="4896320"/>
          <a:ext cx="8896597" cy="1460030"/>
        </p:xfrm>
        <a:graphic>
          <a:graphicData uri="http://schemas.openxmlformats.org/drawingml/2006/table">
            <a:tbl>
              <a:tblPr/>
              <a:tblGrid>
                <a:gridCol w="8896597"/>
              </a:tblGrid>
              <a:tr h="14600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his District Municipality is the most economically depressed in the Province and there are no DHA offices in two local municipalities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n order to establish DHA Foot Print in these Municipalities, we were able to connect online Birth &amp; Death Registration System at Bloemhof, Christiana and Schweizer-Reneke Health Facilities in Lekwa-Teemane and Mamusa Local Municipality respectively. The Province also make use of mobile offices to mobilise clients to apply for  Smart ID cards at Vryburg or Wolmaransstad offices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The District remains a developmental node in the Province</a:t>
                      </a:r>
                    </a:p>
                  </a:txBody>
                  <a:tcPr marL="9525" marR="9525" marT="9526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2" descr="Image result for south Africanorth west province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64704"/>
            <a:ext cx="4695800" cy="4069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V="1">
            <a:off x="2123728" y="1916832"/>
            <a:ext cx="2808312" cy="3600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 flipV="1">
            <a:off x="3059832" y="2636912"/>
            <a:ext cx="1944216" cy="5040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3779912" y="3212976"/>
            <a:ext cx="1224136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2527412" y="3789040"/>
            <a:ext cx="2476636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527884" y="4365104"/>
            <a:ext cx="147616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3561585"/>
      </p:ext>
    </p:extLst>
  </p:cSld>
  <p:clrMapOvr>
    <a:masterClrMapping/>
  </p:clrMapOvr>
  <p:transition spd="med">
    <p:plus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65</TotalTime>
  <Words>5155</Words>
  <Application>Microsoft Office PowerPoint</Application>
  <PresentationFormat>On-screen Show (4:3)</PresentationFormat>
  <Paragraphs>1483</Paragraphs>
  <Slides>47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7</vt:i4>
      </vt:variant>
    </vt:vector>
  </HeadingPairs>
  <TitlesOfParts>
    <vt:vector size="52" baseType="lpstr">
      <vt:lpstr>Office Theme</vt:lpstr>
      <vt:lpstr>1_Office Theme</vt:lpstr>
      <vt:lpstr>2_Office Theme</vt:lpstr>
      <vt:lpstr>3_Office Theme</vt:lpstr>
      <vt:lpstr>4_Office Theme</vt:lpstr>
      <vt:lpstr>PowerPoint Presentation</vt:lpstr>
      <vt:lpstr>Table of Contents</vt:lpstr>
      <vt:lpstr>Table of Contents</vt:lpstr>
      <vt:lpstr>Table of Contents Continue</vt:lpstr>
      <vt:lpstr>INTRODUCTION &amp; BACKGROUND</vt:lpstr>
      <vt:lpstr>PROVINCIAL MANAGEMENT AND DERMACATION </vt:lpstr>
      <vt:lpstr>SUMMARY OF THE CURRENT FOOTPRINT FOR THE  NORTH WEST ROVIN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VINCIAL PERFORMANCE 2016/17</vt:lpstr>
      <vt:lpstr>PowerPoint Presentation</vt:lpstr>
      <vt:lpstr>OVERVIEW ANALYSIS</vt:lpstr>
      <vt:lpstr>OVERVIEW ANALYSIS</vt:lpstr>
      <vt:lpstr>PowerPoint Presentation</vt:lpstr>
      <vt:lpstr>LATE REGISTRATION OF BIRTHS (31DAYS-1YR, 1-7 YRS, 7-14YRS &amp; 15YRS &amp; ABOVE)  </vt:lpstr>
      <vt:lpstr>       </vt:lpstr>
      <vt:lpstr>       </vt:lpstr>
      <vt:lpstr>PowerPoint Presentation</vt:lpstr>
      <vt:lpstr>       </vt:lpstr>
      <vt:lpstr>       </vt:lpstr>
      <vt:lpstr>       </vt:lpstr>
      <vt:lpstr>       </vt:lpstr>
      <vt:lpstr>       </vt:lpstr>
      <vt:lpstr>       </vt:lpstr>
      <vt:lpstr>STAFF PROFILE</vt:lpstr>
      <vt:lpstr>EMPLOYMENT EQUITY </vt:lpstr>
      <vt:lpstr>PROVINCIAL CAPACITY – FILLED AND UNFILLED POSTS  </vt:lpstr>
      <vt:lpstr>PowerPoint Presentation</vt:lpstr>
      <vt:lpstr>PowerPoint Presentation</vt:lpstr>
      <vt:lpstr>PowerPoint Presentation</vt:lpstr>
      <vt:lpstr>LABOUR RELATIONS CASES</vt:lpstr>
      <vt:lpstr>STAFF DEVELOPMENT</vt:lpstr>
      <vt:lpstr>SUMMARY OF BUDGET</vt:lpstr>
      <vt:lpstr>REVENUE COLLECTED</vt:lpstr>
      <vt:lpstr>FLEET MANAGEMENT </vt:lpstr>
      <vt:lpstr>ASSET MANAGEMENT </vt:lpstr>
      <vt:lpstr>STAKEHOLDER MANAGEMENT</vt:lpstr>
      <vt:lpstr>STAKEHOLDER MANAGEMENT</vt:lpstr>
      <vt:lpstr>Achievements</vt:lpstr>
      <vt:lpstr>Challenges </vt:lpstr>
      <vt:lpstr>PowerPoint Presentation</vt:lpstr>
    </vt:vector>
  </TitlesOfParts>
  <Company>Home Affai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imele Ngxongo</dc:creator>
  <cp:lastModifiedBy>DSHABALALA</cp:lastModifiedBy>
  <cp:revision>102</cp:revision>
  <dcterms:created xsi:type="dcterms:W3CDTF">2017-04-09T15:34:02Z</dcterms:created>
  <dcterms:modified xsi:type="dcterms:W3CDTF">2017-08-08T13:58:11Z</dcterms:modified>
</cp:coreProperties>
</file>